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18">
  <p:sldMasterIdLst>
    <p:sldMasterId id="2147483648" r:id="rId1"/>
    <p:sldMasterId id="2147483660" r:id="rId2"/>
    <p:sldMasterId id="2147483672" r:id="rId3"/>
  </p:sldMasterIdLst>
  <p:notesMasterIdLst>
    <p:notesMasterId r:id="rId20"/>
  </p:notesMasterIdLst>
  <p:sldIdLst>
    <p:sldId id="1566" r:id="rId4"/>
    <p:sldId id="1646" r:id="rId5"/>
    <p:sldId id="1632" r:id="rId6"/>
    <p:sldId id="1616" r:id="rId7"/>
    <p:sldId id="1619" r:id="rId8"/>
    <p:sldId id="1622" r:id="rId9"/>
    <p:sldId id="1623" r:id="rId10"/>
    <p:sldId id="1692" r:id="rId11"/>
    <p:sldId id="1624" r:id="rId12"/>
    <p:sldId id="1626" r:id="rId13"/>
    <p:sldId id="1628" r:id="rId14"/>
    <p:sldId id="1633" r:id="rId15"/>
    <p:sldId id="1630" r:id="rId16"/>
    <p:sldId id="1631" r:id="rId17"/>
    <p:sldId id="1617" r:id="rId18"/>
    <p:sldId id="1642" r:id="rId19"/>
  </p:sldIdLst>
  <p:sldSz cx="12192000" cy="6858000"/>
  <p:notesSz cx="6858000" cy="91440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nstantinos Takos (GR)" initials="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C7CE"/>
    <a:srgbClr val="417B85"/>
    <a:srgbClr val="7F8FA9"/>
    <a:srgbClr val="DEECEF"/>
    <a:srgbClr val="3B4759"/>
    <a:srgbClr val="BDDADF"/>
    <a:srgbClr val="013476"/>
    <a:srgbClr val="ACCBF9"/>
    <a:srgbClr val="3EBBF0"/>
    <a:srgbClr val="4A66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72" autoAdjust="0"/>
    <p:restoredTop sz="93817" autoAdjust="0"/>
  </p:normalViewPr>
  <p:slideViewPr>
    <p:cSldViewPr snapToGrid="0" snapToObjects="1">
      <p:cViewPr>
        <p:scale>
          <a:sx n="60" d="100"/>
          <a:sy n="60" d="100"/>
        </p:scale>
        <p:origin x="992" y="12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F5D597F6-B1E6-9948-9572-CE8552A41E40}" type="datetimeFigureOut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Roboto Regular" charset="0"/>
              </a:defRPr>
            </a:lvl1pPr>
          </a:lstStyle>
          <a:p>
            <a:fld id="{E8F0C22D-7263-2D43-AFDE-834F13898FC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410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Roboto Regular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tro /01</a:t>
            </a:r>
            <a:endParaRPr lang="el-GR" dirty="0"/>
          </a:p>
          <a:p>
            <a:endParaRPr lang="el-GR" dirty="0"/>
          </a:p>
          <a:p>
            <a:endParaRPr lang="el-GR" dirty="0"/>
          </a:p>
          <a:p>
            <a:r>
              <a:rPr lang="en-GB" b="1" dirty="0"/>
              <a:t>Feedback</a:t>
            </a:r>
            <a:r>
              <a:rPr lang="en-GB" dirty="0"/>
              <a:t> </a:t>
            </a:r>
          </a:p>
          <a:p>
            <a:endParaRPr lang="el-GR" dirty="0"/>
          </a:p>
          <a:p>
            <a:r>
              <a:rPr lang="el-GR" dirty="0"/>
              <a:t>Πρώτη μέρα αφιερωμένη σε υγιεινή </a:t>
            </a:r>
            <a:r>
              <a:rPr lang="el-GR" dirty="0" err="1"/>
              <a:t>κτλ</a:t>
            </a:r>
            <a:endParaRPr lang="el-GR" dirty="0"/>
          </a:p>
          <a:p>
            <a:endParaRPr lang="el-GR" dirty="0"/>
          </a:p>
          <a:p>
            <a:r>
              <a:rPr lang="el-GR" dirty="0"/>
              <a:t>Μικρές αλλαγές έξυπνες (2 διαλείμματα, ζώνες άφιξης/αναχώρησης)</a:t>
            </a:r>
          </a:p>
          <a:p>
            <a:endParaRPr lang="el-GR" dirty="0"/>
          </a:p>
          <a:p>
            <a:r>
              <a:rPr lang="el-GR" dirty="0"/>
              <a:t>Απουσίες </a:t>
            </a:r>
          </a:p>
          <a:p>
            <a:endParaRPr lang="el-GR" dirty="0"/>
          </a:p>
          <a:p>
            <a:r>
              <a:rPr lang="el-GR" b="1" dirty="0"/>
              <a:t>2 ΣΤΑΔΙΑ</a:t>
            </a:r>
            <a:r>
              <a:rPr lang="el-GR" dirty="0"/>
              <a:t>: α) δημοτικά/γ’ λυκείου – β) γυμνάσιο, β’ γ’ λυκείου, ΕΕΚ, μαθητεία. </a:t>
            </a:r>
          </a:p>
          <a:p>
            <a:endParaRPr lang="el-GR" dirty="0"/>
          </a:p>
          <a:p>
            <a:r>
              <a:rPr lang="el-GR" dirty="0"/>
              <a:t>ΑΕΙ συνεχίζουν εξ αποστάσεως</a:t>
            </a:r>
            <a:r>
              <a:rPr lang="en-GB" dirty="0"/>
              <a:t> (</a:t>
            </a:r>
            <a:r>
              <a:rPr lang="el-GR" dirty="0"/>
              <a:t>δε θα ανοίξουν για φέτος)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135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nd /0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F0C22D-7263-2D43-AFDE-834F13898F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Roboto Regular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Roboto Regular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101560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2.jp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161ACF-671B-EC4A-916C-4785EDDCA9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AF7448-BCB2-5A42-A821-211AF9BEF33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450B4B-B94F-4545-9D91-9BE624FC8D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A5F50E-4600-6645-8AB0-DC1FC1396D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FCD38-962B-0C46-B68F-8FF1F40ED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7779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D3E324-1740-2646-B0B4-C73B7A03E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B5CB420-F162-0546-AB37-C640591FBA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ADCE3D-B845-0547-891B-3669F0CD5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C7C8AC-6A5B-AB47-9BDB-FD6CDCC3F8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5A51503-54C4-0F40-88CB-8A07056593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4160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B83FB5C-64FF-8D42-A73B-D6F69DBE1FD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0D6FC4-1FA7-6E46-B6A9-43596747B5C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780E7B-4048-B241-A388-A6CBC24C97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B2B3997-3B84-9442-A780-DDEABD62FB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5F93BF-E0BC-D444-A262-957F6D91C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97140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endParaRPr sz="1867" b="0" i="0" kern="0" dirty="0">
              <a:solidFill>
                <a:srgbClr val="000000"/>
              </a:solidFill>
              <a:latin typeface="Roboto Regular" charset="0"/>
              <a:ea typeface="Roboto Regular" charset="0"/>
              <a:cs typeface="Roboto Regular" charset="0"/>
              <a:sym typeface="Arial"/>
            </a:endParaRPr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45A671-CEC6-6945-AB76-81D5AE4310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7C0BA6-CBC1-1E4D-93C0-37E5A713497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899BAF-B875-3C4C-88BC-250AB3D561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F9F463-0167-AB4C-AAA1-5E5246439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B122E9-FAB0-7D45-8EB9-B2595FE293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31362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>
                <a:solidFill>
                  <a:srgbClr val="595959"/>
                </a:solidFill>
              </a:rPr>
              <a:pPr/>
              <a:t>‹#›</a:t>
            </a:fld>
            <a:endParaRPr>
              <a:solidFill>
                <a:srgbClr val="595959"/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9772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>
            <a:off x="3176" y="2608637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73A505CD-2484-4C13-8469-4A8AC04665C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9970" y="5228949"/>
            <a:ext cx="1157601" cy="1173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9817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1278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55BC939-2DAF-425F-AA1C-E0AAC643B14E}"/>
              </a:ext>
            </a:extLst>
          </p:cNvPr>
          <p:cNvSpPr/>
          <p:nvPr userDrawn="1"/>
        </p:nvSpPr>
        <p:spPr>
          <a:xfrm>
            <a:off x="0" y="-2"/>
            <a:ext cx="5241953" cy="6858001"/>
          </a:xfrm>
          <a:prstGeom prst="rect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l-GR"/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3937635" y="1304318"/>
            <a:ext cx="6858000" cy="4249363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31" descr="ΙΚΑΡΙΟΛΟΓΟΣ: Υπόμνημα του Δήμου Ικαρίας στο Υπουργείο Υγείας">
            <a:extLst>
              <a:ext uri="{FF2B5EF4-FFF2-40B4-BE49-F238E27FC236}">
                <a16:creationId xmlns:a16="http://schemas.microsoft.com/office/drawing/2014/main" id="{58A897C1-56EE-4C48-9440-CC17092C0DC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8198" y="5174479"/>
            <a:ext cx="1188703" cy="1193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789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82832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4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A55320CF-8DE8-4A78-A22B-C32A57A669B1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3108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11828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6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0CFFE79-316F-4696-A586-FCDE0BFB03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0F27D11-C900-4258-B46C-BF5ED138CB38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3930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0917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8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42DF118-3518-41E0-906A-E7D837842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A0C0614-50A3-4AFE-BC1E-7DB6E95379DF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70949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9975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1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3AE5B8-DD09-441C-82CF-6C774ED7EC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4C542AE4-4BBD-418B-8894-84E65B285D18}" type="datetime1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857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4894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B1C733A2-DA9F-4DBB-8A76-64DA3BF01FFE}" type="datetime1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16757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260A2ECE-5CA2-41DE-B2AC-AB4033CC7675}" type="datetime1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2973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130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6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33B81CD-5318-413B-81EC-15F21490B0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9A6F194A-D9B2-406C-9979-97EC3108955E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896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30A5B-D8C4-C549-8FC1-343838FC4E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BE7C3-90EF-B743-AB4C-B7839052C2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AD20DA-21FA-AB44-8853-585682358A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FD2C98-9866-0C4B-84E9-D49871D1FF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473FE3-75E3-9D4B-B791-0E1C6A8AB2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23716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4665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8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64DFB17-1D78-4615-80BB-ACA981CE51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3A4FD4B6-B6BD-4AE4-A262-2F7C92D97EEA}" type="datetime1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8141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452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F752BB3-3FBF-4DF9-A65F-0D1072CA4E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3E51C106-4CDC-4237-89D2-AC92ADE11348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0498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3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3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75815B-0232-42E4-8D85-8A12C0C931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2D877314-346E-405C-84E1-EE2EFE05D0B8}" type="datetime1">
              <a:rPr lang="en-US" smtClean="0"/>
              <a:t>5/2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50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1871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5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7B4C35A-3956-4E96-B723-B59E98A520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1DD2AB17-7FA7-4F27-A15B-8AB03822973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185" t="6084" r="87330" b="75016"/>
          <a:stretch/>
        </p:blipFill>
        <p:spPr>
          <a:xfrm>
            <a:off x="8685973" y="1243324"/>
            <a:ext cx="1832103" cy="18575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8997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329F27-35D1-0148-806F-EBB50AF7F7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20ACE7-AAEA-D049-A0DC-ACB4ED0D4F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81F504D-D8AC-DC48-8503-8490E74588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DCF85DE-AA7D-9548-B216-6BF197B7D8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DEACCF-9139-844B-B4CC-FBE3F3F578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0E8FB-9E38-8640-82FA-D8DDB5C3E2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3987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6C051D-01CD-8A45-B506-DFDEBDE14E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3DD7E8-7414-3A45-B2C6-4C1DFF15E4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B87BAF9-696A-1544-A45E-33F62510CC6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C054203-C6FC-9144-9030-B14A73129B0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4BE6542-55AE-3D49-B31C-C1FF9484474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7A423BC-CAC9-B94D-9159-82150805EA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0DF49A0-1BF7-274B-8F3C-41140C7CAE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6B1F46A-2778-A249-91C4-52725250C4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776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99AB9F-117D-5749-9106-257FA39F35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701C14-A766-E84F-8869-69C30020FD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4671A8-0308-7F43-B769-9F6DC76523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97AA9BB-AC84-084E-99CB-48DB08C65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663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7915AC5-2548-824A-ACE7-C95FA6F81C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2C6D908-D713-DC47-A4F2-37E5D20A71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11C097-7B8A-E24E-8EDD-41C581C1D5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0877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7CD192-9786-7E4E-85FB-00B172821E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14FCF5-28D1-5B43-893B-4A6AD9556F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0BCF47F-28D8-7C4C-B0AB-E7778747031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900DE59-36D5-D84D-8C17-C2A079C2FE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C2E022-1DFB-AA40-B032-B935A13506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FEFE09-C25F-A14D-A020-37B426D0D5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55348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4F019-7784-794E-B793-1E461422FE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281C18D-4099-894A-B499-8EADC6010D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DE0F3E-3255-4644-BB62-ECC88688FD6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A60E258-00A9-AF46-ADDB-9F7A284DC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AC55F-2063-DB47-93AF-3A96D469569A}" type="datetimeFigureOut">
              <a:rPr lang="en-US" smtClean="0"/>
              <a:t>5/20/20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7C0EDBB-846C-A74B-9A0E-C4A880A8A0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D5A79F-41E9-F64A-9C4D-229156B894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48DB868-3F35-684A-85CB-C6013B4185D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141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vmlDrawing" Target="../drawings/vmlDrawing2.v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2.xml"/><Relationship Id="rId16" Type="http://schemas.openxmlformats.org/officeDocument/2006/relationships/tags" Target="../tags/tag5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vmlDrawing" Target="../drawings/vmlDrawing3.v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3F74A4-53AE-4CF1-84D8-8E261ED198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02315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28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1CEFFF7-BB5B-4C23-B453-29F183E8721C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Roboto Regular"/>
              <a:ea typeface="+mj-ea"/>
              <a:cs typeface="+mj-cs"/>
              <a:sym typeface="Roboto Regular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020831-76B3-2B45-BE90-B5BB245CF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EF283C-8A91-4348-8EB5-D96784A0026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5ADDFDA-B6D9-E64F-B0AD-DCB4D5ACAF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D8CAC55F-2063-DB47-93AF-3A96D469569A}" type="datetimeFigureOut">
              <a:rPr lang="en-US" smtClean="0"/>
              <a:pPr/>
              <a:t>5/20/202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639745-0F45-3B44-A5AC-2C6A19CC21B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45C407-5228-C745-B93A-482575E489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Regular" charset="0"/>
              </a:defRPr>
            </a:lvl1pPr>
          </a:lstStyle>
          <a:p>
            <a:fld id="{548DB868-3F35-684A-85CB-C6013B4185D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0348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Roboto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Roboto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Roboto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53BFEF-5FD7-4809-A3A1-EDD8A5B2E8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692580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58" name="think-cell Slide" r:id="rId13" imgW="473" imgH="473" progId="TCLayout.ActiveDocument.1">
                  <p:embed/>
                </p:oleObj>
              </mc:Choice>
              <mc:Fallback>
                <p:oleObj name="think-cell Slide" r:id="rId1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 dirty="0"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 dirty="0"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33" b="0" i="0">
                <a:solidFill>
                  <a:schemeClr val="dk2"/>
                </a:solidFill>
                <a:latin typeface="Roboto Regular" charset="0"/>
                <a:ea typeface="Roboto Regular" charset="0"/>
                <a:cs typeface="Roboto Regular" charset="0"/>
              </a:defRPr>
            </a:lvl1pPr>
            <a:lvl2pPr lvl="1" algn="r">
              <a:buNone/>
              <a:defRPr sz="1333">
                <a:solidFill>
                  <a:schemeClr val="dk2"/>
                </a:solidFill>
              </a:defRPr>
            </a:lvl2pPr>
            <a:lvl3pPr lvl="2" algn="r">
              <a:buNone/>
              <a:defRPr sz="1333">
                <a:solidFill>
                  <a:schemeClr val="dk2"/>
                </a:solidFill>
              </a:defRPr>
            </a:lvl3pPr>
            <a:lvl4pPr lvl="3" algn="r">
              <a:buNone/>
              <a:defRPr sz="1333">
                <a:solidFill>
                  <a:schemeClr val="dk2"/>
                </a:solidFill>
              </a:defRPr>
            </a:lvl4pPr>
            <a:lvl5pPr lvl="4" algn="r">
              <a:buNone/>
              <a:defRPr sz="1333">
                <a:solidFill>
                  <a:schemeClr val="dk2"/>
                </a:solidFill>
              </a:defRPr>
            </a:lvl5pPr>
            <a:lvl6pPr lvl="5" algn="r">
              <a:buNone/>
              <a:defRPr sz="1333">
                <a:solidFill>
                  <a:schemeClr val="dk2"/>
                </a:solidFill>
              </a:defRPr>
            </a:lvl6pPr>
            <a:lvl7pPr lvl="6" algn="r">
              <a:buNone/>
              <a:defRPr sz="1333">
                <a:solidFill>
                  <a:schemeClr val="dk2"/>
                </a:solidFill>
              </a:defRPr>
            </a:lvl7pPr>
            <a:lvl8pPr lvl="7" algn="r">
              <a:buNone/>
              <a:defRPr sz="1333">
                <a:solidFill>
                  <a:schemeClr val="dk2"/>
                </a:solidFill>
              </a:defRPr>
            </a:lvl8pPr>
            <a:lvl9pPr lvl="8" algn="r">
              <a:buNone/>
              <a:defRPr sz="1333">
                <a:solidFill>
                  <a:schemeClr val="dk2"/>
                </a:solidFill>
              </a:defRPr>
            </a:lvl9pPr>
          </a:lstStyle>
          <a:p>
            <a:pPr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uk-UA" kern="0" smtClean="0">
                <a:solidFill>
                  <a:srgbClr val="595959"/>
                </a:solidFill>
                <a:sym typeface="Arial"/>
              </a:rPr>
              <a:pPr>
                <a:buClr>
                  <a:srgbClr val="000000"/>
                </a:buClr>
                <a:buFont typeface="Arial"/>
                <a:buNone/>
              </a:pPr>
              <a:t>‹#›</a:t>
            </a:fld>
            <a:endParaRPr lang="uk-UA" kern="0" dirty="0">
              <a:solidFill>
                <a:srgbClr val="595959"/>
              </a:solidFill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6287560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Roboto Regular" charset="0"/>
          <a:ea typeface="Roboto Regular" charset="0"/>
          <a:cs typeface="Roboto Regular" charset="0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69183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6" name="think-cell Slide" r:id="rId18" imgW="592" imgH="591" progId="TCLayout.ActiveDocument.1">
                  <p:embed/>
                </p:oleObj>
              </mc:Choice>
              <mc:Fallback>
                <p:oleObj name="think-cell Slide" r:id="rId18" imgW="592" imgH="59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0" y="5903650"/>
            <a:ext cx="985421" cy="954349"/>
          </a:xfrm>
          <a:prstGeom prst="rtTriangle">
            <a:avLst/>
          </a:prstGeom>
          <a:solidFill>
            <a:srgbClr val="0134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F733EB48-B161-4E57-9FA7-65C5448109C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/>
          <a:srcRect l="2185" t="6084" r="87330" b="75016"/>
          <a:stretch/>
        </p:blipFill>
        <p:spPr>
          <a:xfrm>
            <a:off x="92017" y="6392153"/>
            <a:ext cx="399701" cy="405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1925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88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.jp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46920FD-0316-41E6-AED9-727435DA497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43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46920FD-0316-41E6-AED9-727435DA49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88CF923F-5193-44F2-BF83-6951547296D8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F4540133-4F80-7847-85FF-A47B419E88E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5" name="Rectangle: Diagonal Corners Snipped 4">
              <a:extLst>
                <a:ext uri="{FF2B5EF4-FFF2-40B4-BE49-F238E27FC236}">
                  <a16:creationId xmlns:a16="http://schemas.microsoft.com/office/drawing/2014/main" id="{AB529D85-EA9E-43D9-9EA9-E4E2545F2336}"/>
                </a:ext>
              </a:extLst>
            </p:cNvPr>
            <p:cNvSpPr/>
            <p:nvPr/>
          </p:nvSpPr>
          <p:spPr>
            <a:xfrm>
              <a:off x="1516987" y="1038258"/>
              <a:ext cx="4741771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20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DCAD2CDB-9BF8-4448-8880-832B33B17B6A}"/>
              </a:ext>
            </a:extLst>
          </p:cNvPr>
          <p:cNvSpPr txBox="1"/>
          <p:nvPr/>
        </p:nvSpPr>
        <p:spPr>
          <a:xfrm>
            <a:off x="1516987" y="2606399"/>
            <a:ext cx="4990345" cy="1172074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lvl="0"/>
            <a:r>
              <a:rPr kumimoji="0" lang="el-GR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«Επανεκκίνηση της </a:t>
            </a:r>
            <a:r>
              <a:rPr lang="el-GR" sz="32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Ελληνικής Οικονομίας»</a:t>
            </a:r>
          </a:p>
          <a:p>
            <a:pPr lvl="0"/>
            <a:endParaRPr lang="el-GR" sz="3200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l-GR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 Regular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FE2F638-602B-2447-B69D-5C4CF8E5077E}"/>
              </a:ext>
            </a:extLst>
          </p:cNvPr>
          <p:cNvSpPr txBox="1"/>
          <p:nvPr/>
        </p:nvSpPr>
        <p:spPr>
          <a:xfrm>
            <a:off x="1629336" y="5309396"/>
            <a:ext cx="8780346" cy="605603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200" dirty="0">
                <a:solidFill>
                  <a:prstClr val="white"/>
                </a:solidFill>
                <a:latin typeface="Roboto Regular" charset="0"/>
                <a:cs typeface="Roboto Regular" charset="0"/>
              </a:rPr>
              <a:t>20</a:t>
            </a:r>
            <a:r>
              <a:rPr kumimoji="0" lang="el-GR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Regular" charset="0"/>
                <a:ea typeface="+mn-ea"/>
                <a:cs typeface="Roboto Regular" charset="0"/>
              </a:rPr>
              <a:t> Μαΐου 2020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D69C9BD-9E4D-4262-BFD2-3D1AB0E0EE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58322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63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2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 Ιουλίου</a:t>
            </a:r>
          </a:p>
        </p:txBody>
      </p:sp>
      <p:sp>
        <p:nvSpPr>
          <p:cNvPr id="12" name="Rectangle: Diagonal Corners Snipped 11">
            <a:extLst>
              <a:ext uri="{FF2B5EF4-FFF2-40B4-BE49-F238E27FC236}">
                <a16:creationId xmlns:a16="http://schemas.microsoft.com/office/drawing/2014/main" id="{29058622-FE0C-4E81-9A5F-05861F9674EA}"/>
              </a:ext>
            </a:extLst>
          </p:cNvPr>
          <p:cNvSpPr/>
          <p:nvPr/>
        </p:nvSpPr>
        <p:spPr>
          <a:xfrm>
            <a:off x="1619560" y="1720068"/>
            <a:ext cx="8903368" cy="4649779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008B0B9-882F-43D1-A0A0-6160FBA24EEE}"/>
              </a:ext>
            </a:extLst>
          </p:cNvPr>
          <p:cNvSpPr/>
          <p:nvPr/>
        </p:nvSpPr>
        <p:spPr>
          <a:xfrm>
            <a:off x="1880827" y="2498409"/>
            <a:ext cx="8430345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πτήσεων από το εξωτερικό προς όλα τα αεροδρόμια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Απελευθέρωση εισόδου επισκεπτών </a:t>
            </a:r>
            <a:r>
              <a:rPr lang="el-GR" sz="2000" b="1" dirty="0"/>
              <a:t>από όλες τις χώρε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b="1" dirty="0"/>
              <a:t>Θα εξαιρεθούν </a:t>
            </a:r>
            <a:r>
              <a:rPr lang="el-GR" sz="2000" dirty="0"/>
              <a:t>χώρες με αρνητικά επιδημιολογικά χαρακτηριστικά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θα εξαιρεθούν </a:t>
            </a:r>
            <a:r>
              <a:rPr lang="el-GR" sz="2000" b="1" dirty="0"/>
              <a:t>θα ανακοινωθούν εγκαίρως</a:t>
            </a:r>
          </a:p>
          <a:p>
            <a:pPr marL="285750" indent="-285750">
              <a:spcBef>
                <a:spcPts val="3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l-GR" sz="2000" dirty="0"/>
              <a:t>Οι χώρες που εξαιρέθηκαν από το 2</a:t>
            </a:r>
            <a:r>
              <a:rPr lang="el-GR" sz="2000" baseline="30000" dirty="0"/>
              <a:t>ο</a:t>
            </a:r>
            <a:r>
              <a:rPr lang="el-GR" sz="2000" dirty="0"/>
              <a:t> στάδιο απελευθέρωσης θα παρακολουθούνται αναφορικά με τα επιδημιολογικά χαρακτηριστικά τους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9D054CA3-6BE1-4339-9BF7-F75162B8E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0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33274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6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Υγειονομικά Πρωτοκόλλα για τη λειτουργία επιχειρήσεων και τη μεταφορά τουριστών</a:t>
            </a:r>
          </a:p>
        </p:txBody>
      </p:sp>
      <p:sp>
        <p:nvSpPr>
          <p:cNvPr id="8" name="Rectangle: Diagonal Corners Snipped 38">
            <a:extLst>
              <a:ext uri="{FF2B5EF4-FFF2-40B4-BE49-F238E27FC236}">
                <a16:creationId xmlns:a16="http://schemas.microsoft.com/office/drawing/2014/main" id="{96BA800D-8983-4707-80BE-8BB7A63F38C1}"/>
              </a:ext>
            </a:extLst>
          </p:cNvPr>
          <p:cNvSpPr/>
          <p:nvPr/>
        </p:nvSpPr>
        <p:spPr>
          <a:xfrm>
            <a:off x="745923" y="1565567"/>
            <a:ext cx="6534987" cy="4999181"/>
          </a:xfrm>
          <a:prstGeom prst="snip2DiagRect">
            <a:avLst/>
          </a:prstGeom>
          <a:solidFill>
            <a:srgbClr val="BDDADF"/>
          </a:solidFill>
          <a:ln w="9525" cap="flat" cmpd="sng">
            <a:solidFill>
              <a:srgbClr val="BDDAD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0" rIns="0" bIns="80669" anchor="t" anchorCtr="0">
            <a:noAutofit/>
          </a:bodyPr>
          <a:lstStyle/>
          <a:p>
            <a:pPr>
              <a:spcAft>
                <a:spcPts val="1200"/>
              </a:spcAft>
            </a:pPr>
            <a:r>
              <a:rPr lang="el-GR" sz="2000" b="1" dirty="0">
                <a:sym typeface="Georgia"/>
              </a:rPr>
              <a:t>Υγειονομικά Πρωτόκολλ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καταλυμάτ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τουριστικών Λεωφορείων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Λειτουργία επιχειρήσεων ενοικιάσεων αυτοκινήτων </a:t>
            </a:r>
            <a:endParaRPr lang="en-US" sz="1600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SzPts val="1800"/>
              <a:buFont typeface="Arial" panose="020B0604020202020204" pitchFamily="34" charset="0"/>
              <a:buChar char="•"/>
            </a:pPr>
            <a:r>
              <a:rPr lang="el-GR" sz="1600" dirty="0"/>
              <a:t>Θαλάσσιες μεταφορές: Επιβατηγά / Επιβατηγά – οχηματαγωγά πλοία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Εντός του αεροπλάνου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Αεροπορικές μεταφορές: Λειτουργία αεροδρομίου (</a:t>
            </a:r>
            <a:r>
              <a:rPr lang="en-US" sz="1600" dirty="0">
                <a:sym typeface="Georgia"/>
              </a:rPr>
              <a:t>terminal)</a:t>
            </a:r>
            <a:endParaRPr lang="el-GR" sz="1600" dirty="0">
              <a:sym typeface="Georgia"/>
            </a:endParaRP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600" dirty="0">
                <a:sym typeface="Georgia"/>
              </a:rPr>
              <a:t>Έλεγχος στις Πύλες Εισόδου (π.χ. ερωτηματολόγιο, </a:t>
            </a:r>
            <a:r>
              <a:rPr lang="en-US" sz="1600" dirty="0">
                <a:sym typeface="Georgia"/>
              </a:rPr>
              <a:t>test </a:t>
            </a:r>
            <a:r>
              <a:rPr lang="el-GR" sz="1600" dirty="0">
                <a:sym typeface="Georgia"/>
              </a:rPr>
              <a:t>δειγματοληπτικά)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081A70D-A3C0-4006-9013-DA0A889C6668}"/>
              </a:ext>
            </a:extLst>
          </p:cNvPr>
          <p:cNvGrpSpPr/>
          <p:nvPr/>
        </p:nvGrpSpPr>
        <p:grpSpPr>
          <a:xfrm>
            <a:off x="1014887" y="4068027"/>
            <a:ext cx="360000" cy="360000"/>
            <a:chOff x="3216946" y="4690710"/>
            <a:chExt cx="612000" cy="612000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E134F551-D203-42D7-AC46-5D25957155AA}"/>
                </a:ext>
              </a:extLst>
            </p:cNvPr>
            <p:cNvSpPr/>
            <p:nvPr/>
          </p:nvSpPr>
          <p:spPr bwMode="ltGray">
            <a:xfrm>
              <a:off x="3216946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1" name="Freeform 4826">
              <a:extLst>
                <a:ext uri="{FF2B5EF4-FFF2-40B4-BE49-F238E27FC236}">
                  <a16:creationId xmlns:a16="http://schemas.microsoft.com/office/drawing/2014/main" id="{EC8E9ADF-E5D3-4346-AD5C-0B79466B706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19474" y="4797076"/>
              <a:ext cx="406945" cy="406945"/>
            </a:xfrm>
            <a:custGeom>
              <a:avLst/>
              <a:gdLst>
                <a:gd name="T0" fmla="*/ 202 w 332"/>
                <a:gd name="T1" fmla="*/ 12 h 332"/>
                <a:gd name="T2" fmla="*/ 228 w 332"/>
                <a:gd name="T3" fmla="*/ 26 h 332"/>
                <a:gd name="T4" fmla="*/ 322 w 332"/>
                <a:gd name="T5" fmla="*/ 120 h 332"/>
                <a:gd name="T6" fmla="*/ 300 w 332"/>
                <a:gd name="T7" fmla="*/ 128 h 332"/>
                <a:gd name="T8" fmla="*/ 320 w 332"/>
                <a:gd name="T9" fmla="*/ 132 h 332"/>
                <a:gd name="T10" fmla="*/ 322 w 332"/>
                <a:gd name="T11" fmla="*/ 56 h 332"/>
                <a:gd name="T12" fmla="*/ 308 w 332"/>
                <a:gd name="T13" fmla="*/ 88 h 332"/>
                <a:gd name="T14" fmla="*/ 320 w 332"/>
                <a:gd name="T15" fmla="*/ 46 h 332"/>
                <a:gd name="T16" fmla="*/ 306 w 332"/>
                <a:gd name="T17" fmla="*/ 12 h 332"/>
                <a:gd name="T18" fmla="*/ 300 w 332"/>
                <a:gd name="T19" fmla="*/ 32 h 332"/>
                <a:gd name="T20" fmla="*/ 260 w 332"/>
                <a:gd name="T21" fmla="*/ 22 h 332"/>
                <a:gd name="T22" fmla="*/ 282 w 332"/>
                <a:gd name="T23" fmla="*/ 4 h 332"/>
                <a:gd name="T24" fmla="*/ 240 w 332"/>
                <a:gd name="T25" fmla="*/ 10 h 332"/>
                <a:gd name="T26" fmla="*/ 26 w 332"/>
                <a:gd name="T27" fmla="*/ 136 h 332"/>
                <a:gd name="T28" fmla="*/ 16 w 332"/>
                <a:gd name="T29" fmla="*/ 98 h 332"/>
                <a:gd name="T30" fmla="*/ 14 w 332"/>
                <a:gd name="T31" fmla="*/ 136 h 332"/>
                <a:gd name="T32" fmla="*/ 132 w 332"/>
                <a:gd name="T33" fmla="*/ 12 h 332"/>
                <a:gd name="T34" fmla="*/ 118 w 332"/>
                <a:gd name="T35" fmla="*/ 30 h 332"/>
                <a:gd name="T36" fmla="*/ 100 w 332"/>
                <a:gd name="T37" fmla="*/ 12 h 332"/>
                <a:gd name="T38" fmla="*/ 58 w 332"/>
                <a:gd name="T39" fmla="*/ 2 h 332"/>
                <a:gd name="T40" fmla="*/ 80 w 332"/>
                <a:gd name="T41" fmla="*/ 22 h 332"/>
                <a:gd name="T42" fmla="*/ 32 w 332"/>
                <a:gd name="T43" fmla="*/ 32 h 332"/>
                <a:gd name="T44" fmla="*/ 36 w 332"/>
                <a:gd name="T45" fmla="*/ 6 h 332"/>
                <a:gd name="T46" fmla="*/ 14 w 332"/>
                <a:gd name="T47" fmla="*/ 38 h 332"/>
                <a:gd name="T48" fmla="*/ 22 w 332"/>
                <a:gd name="T49" fmla="*/ 80 h 332"/>
                <a:gd name="T50" fmla="*/ 12 w 332"/>
                <a:gd name="T51" fmla="*/ 48 h 332"/>
                <a:gd name="T52" fmla="*/ 4 w 332"/>
                <a:gd name="T53" fmla="*/ 86 h 332"/>
                <a:gd name="T54" fmla="*/ 130 w 332"/>
                <a:gd name="T55" fmla="*/ 320 h 332"/>
                <a:gd name="T56" fmla="*/ 116 w 332"/>
                <a:gd name="T57" fmla="*/ 302 h 332"/>
                <a:gd name="T58" fmla="*/ 110 w 332"/>
                <a:gd name="T59" fmla="*/ 324 h 332"/>
                <a:gd name="T60" fmla="*/ 16 w 332"/>
                <a:gd name="T61" fmla="*/ 194 h 332"/>
                <a:gd name="T62" fmla="*/ 20 w 332"/>
                <a:gd name="T63" fmla="*/ 222 h 332"/>
                <a:gd name="T64" fmla="*/ 24 w 332"/>
                <a:gd name="T65" fmla="*/ 244 h 332"/>
                <a:gd name="T66" fmla="*/ 2 w 332"/>
                <a:gd name="T67" fmla="*/ 248 h 332"/>
                <a:gd name="T68" fmla="*/ 10 w 332"/>
                <a:gd name="T69" fmla="*/ 276 h 332"/>
                <a:gd name="T70" fmla="*/ 36 w 332"/>
                <a:gd name="T71" fmla="*/ 304 h 332"/>
                <a:gd name="T72" fmla="*/ 8 w 332"/>
                <a:gd name="T73" fmla="*/ 288 h 332"/>
                <a:gd name="T74" fmla="*/ 30 w 332"/>
                <a:gd name="T75" fmla="*/ 322 h 332"/>
                <a:gd name="T76" fmla="*/ 90 w 332"/>
                <a:gd name="T77" fmla="*/ 322 h 332"/>
                <a:gd name="T78" fmla="*/ 58 w 332"/>
                <a:gd name="T79" fmla="*/ 310 h 332"/>
                <a:gd name="T80" fmla="*/ 60 w 332"/>
                <a:gd name="T81" fmla="*/ 332 h 332"/>
                <a:gd name="T82" fmla="*/ 322 w 332"/>
                <a:gd name="T83" fmla="*/ 212 h 332"/>
                <a:gd name="T84" fmla="*/ 300 w 332"/>
                <a:gd name="T85" fmla="*/ 206 h 332"/>
                <a:gd name="T86" fmla="*/ 222 w 332"/>
                <a:gd name="T87" fmla="*/ 314 h 332"/>
                <a:gd name="T88" fmla="*/ 192 w 332"/>
                <a:gd name="T89" fmla="*/ 310 h 332"/>
                <a:gd name="T90" fmla="*/ 222 w 332"/>
                <a:gd name="T91" fmla="*/ 318 h 332"/>
                <a:gd name="T92" fmla="*/ 252 w 332"/>
                <a:gd name="T93" fmla="*/ 310 h 332"/>
                <a:gd name="T94" fmla="*/ 240 w 332"/>
                <a:gd name="T95" fmla="*/ 328 h 332"/>
                <a:gd name="T96" fmla="*/ 276 w 332"/>
                <a:gd name="T97" fmla="*/ 326 h 332"/>
                <a:gd name="T98" fmla="*/ 322 w 332"/>
                <a:gd name="T99" fmla="*/ 300 h 332"/>
                <a:gd name="T100" fmla="*/ 294 w 332"/>
                <a:gd name="T101" fmla="*/ 304 h 332"/>
                <a:gd name="T102" fmla="*/ 298 w 332"/>
                <a:gd name="T103" fmla="*/ 326 h 332"/>
                <a:gd name="T104" fmla="*/ 318 w 332"/>
                <a:gd name="T105" fmla="*/ 240 h 332"/>
                <a:gd name="T106" fmla="*/ 312 w 332"/>
                <a:gd name="T107" fmla="*/ 274 h 332"/>
                <a:gd name="T108" fmla="*/ 330 w 332"/>
                <a:gd name="T109" fmla="*/ 274 h 332"/>
                <a:gd name="T110" fmla="*/ 140 w 332"/>
                <a:gd name="T111" fmla="*/ 104 h 332"/>
                <a:gd name="T112" fmla="*/ 296 w 332"/>
                <a:gd name="T113" fmla="*/ 140 h 332"/>
                <a:gd name="T114" fmla="*/ 228 w 332"/>
                <a:gd name="T115" fmla="*/ 192 h 332"/>
                <a:gd name="T116" fmla="*/ 282 w 332"/>
                <a:gd name="T117" fmla="*/ 228 h 332"/>
                <a:gd name="T118" fmla="*/ 42 w 332"/>
                <a:gd name="T119" fmla="*/ 212 h 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32" h="332">
                  <a:moveTo>
                    <a:pt x="204" y="32"/>
                  </a:moveTo>
                  <a:lnTo>
                    <a:pt x="204" y="32"/>
                  </a:lnTo>
                  <a:lnTo>
                    <a:pt x="200" y="30"/>
                  </a:lnTo>
                  <a:lnTo>
                    <a:pt x="198" y="28"/>
                  </a:lnTo>
                  <a:lnTo>
                    <a:pt x="196" y="26"/>
                  </a:lnTo>
                  <a:lnTo>
                    <a:pt x="194" y="22"/>
                  </a:lnTo>
                  <a:lnTo>
                    <a:pt x="194" y="22"/>
                  </a:lnTo>
                  <a:lnTo>
                    <a:pt x="194" y="18"/>
                  </a:lnTo>
                  <a:lnTo>
                    <a:pt x="196" y="16"/>
                  </a:lnTo>
                  <a:lnTo>
                    <a:pt x="198" y="12"/>
                  </a:lnTo>
                  <a:lnTo>
                    <a:pt x="202" y="12"/>
                  </a:lnTo>
                  <a:lnTo>
                    <a:pt x="202" y="12"/>
                  </a:lnTo>
                  <a:lnTo>
                    <a:pt x="212" y="10"/>
                  </a:lnTo>
                  <a:lnTo>
                    <a:pt x="212" y="10"/>
                  </a:lnTo>
                  <a:lnTo>
                    <a:pt x="222" y="8"/>
                  </a:lnTo>
                  <a:lnTo>
                    <a:pt x="222" y="8"/>
                  </a:lnTo>
                  <a:lnTo>
                    <a:pt x="226" y="8"/>
                  </a:lnTo>
                  <a:lnTo>
                    <a:pt x="228" y="10"/>
                  </a:lnTo>
                  <a:lnTo>
                    <a:pt x="232" y="12"/>
                  </a:lnTo>
                  <a:lnTo>
                    <a:pt x="234" y="16"/>
                  </a:lnTo>
                  <a:lnTo>
                    <a:pt x="234" y="16"/>
                  </a:lnTo>
                  <a:lnTo>
                    <a:pt x="234" y="20"/>
                  </a:lnTo>
                  <a:lnTo>
                    <a:pt x="232" y="24"/>
                  </a:lnTo>
                  <a:lnTo>
                    <a:pt x="228" y="26"/>
                  </a:lnTo>
                  <a:lnTo>
                    <a:pt x="226" y="28"/>
                  </a:lnTo>
                  <a:lnTo>
                    <a:pt x="226" y="28"/>
                  </a:lnTo>
                  <a:lnTo>
                    <a:pt x="214" y="30"/>
                  </a:lnTo>
                  <a:lnTo>
                    <a:pt x="214" y="30"/>
                  </a:lnTo>
                  <a:lnTo>
                    <a:pt x="206" y="32"/>
                  </a:lnTo>
                  <a:lnTo>
                    <a:pt x="206" y="32"/>
                  </a:lnTo>
                  <a:lnTo>
                    <a:pt x="204" y="32"/>
                  </a:lnTo>
                  <a:lnTo>
                    <a:pt x="204" y="32"/>
                  </a:lnTo>
                  <a:close/>
                  <a:moveTo>
                    <a:pt x="320" y="132"/>
                  </a:moveTo>
                  <a:lnTo>
                    <a:pt x="320" y="132"/>
                  </a:lnTo>
                  <a:lnTo>
                    <a:pt x="322" y="120"/>
                  </a:lnTo>
                  <a:lnTo>
                    <a:pt x="322" y="120"/>
                  </a:lnTo>
                  <a:lnTo>
                    <a:pt x="322" y="116"/>
                  </a:lnTo>
                  <a:lnTo>
                    <a:pt x="320" y="114"/>
                  </a:lnTo>
                  <a:lnTo>
                    <a:pt x="318" y="110"/>
                  </a:lnTo>
                  <a:lnTo>
                    <a:pt x="314" y="108"/>
                  </a:lnTo>
                  <a:lnTo>
                    <a:pt x="314" y="108"/>
                  </a:lnTo>
                  <a:lnTo>
                    <a:pt x="310" y="110"/>
                  </a:lnTo>
                  <a:lnTo>
                    <a:pt x="306" y="110"/>
                  </a:lnTo>
                  <a:lnTo>
                    <a:pt x="304" y="114"/>
                  </a:lnTo>
                  <a:lnTo>
                    <a:pt x="302" y="118"/>
                  </a:lnTo>
                  <a:lnTo>
                    <a:pt x="302" y="118"/>
                  </a:lnTo>
                  <a:lnTo>
                    <a:pt x="300" y="128"/>
                  </a:lnTo>
                  <a:lnTo>
                    <a:pt x="300" y="128"/>
                  </a:lnTo>
                  <a:lnTo>
                    <a:pt x="300" y="132"/>
                  </a:lnTo>
                  <a:lnTo>
                    <a:pt x="302" y="136"/>
                  </a:lnTo>
                  <a:lnTo>
                    <a:pt x="306" y="138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0" y="140"/>
                  </a:lnTo>
                  <a:lnTo>
                    <a:pt x="314" y="138"/>
                  </a:lnTo>
                  <a:lnTo>
                    <a:pt x="318" y="138"/>
                  </a:lnTo>
                  <a:lnTo>
                    <a:pt x="320" y="134"/>
                  </a:lnTo>
                  <a:lnTo>
                    <a:pt x="320" y="132"/>
                  </a:lnTo>
                  <a:lnTo>
                    <a:pt x="320" y="132"/>
                  </a:lnTo>
                  <a:close/>
                  <a:moveTo>
                    <a:pt x="328" y="92"/>
                  </a:moveTo>
                  <a:lnTo>
                    <a:pt x="328" y="92"/>
                  </a:lnTo>
                  <a:lnTo>
                    <a:pt x="330" y="82"/>
                  </a:lnTo>
                  <a:lnTo>
                    <a:pt x="330" y="8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2" y="66"/>
                  </a:lnTo>
                  <a:lnTo>
                    <a:pt x="332" y="66"/>
                  </a:lnTo>
                  <a:lnTo>
                    <a:pt x="330" y="62"/>
                  </a:lnTo>
                  <a:lnTo>
                    <a:pt x="328" y="58"/>
                  </a:lnTo>
                  <a:lnTo>
                    <a:pt x="326" y="56"/>
                  </a:lnTo>
                  <a:lnTo>
                    <a:pt x="322" y="56"/>
                  </a:lnTo>
                  <a:lnTo>
                    <a:pt x="322" y="56"/>
                  </a:lnTo>
                  <a:lnTo>
                    <a:pt x="318" y="56"/>
                  </a:lnTo>
                  <a:lnTo>
                    <a:pt x="314" y="58"/>
                  </a:lnTo>
                  <a:lnTo>
                    <a:pt x="312" y="62"/>
                  </a:lnTo>
                  <a:lnTo>
                    <a:pt x="312" y="64"/>
                  </a:lnTo>
                  <a:lnTo>
                    <a:pt x="312" y="64"/>
                  </a:lnTo>
                  <a:lnTo>
                    <a:pt x="310" y="72"/>
                  </a:lnTo>
                  <a:lnTo>
                    <a:pt x="310" y="72"/>
                  </a:lnTo>
                  <a:lnTo>
                    <a:pt x="310" y="80"/>
                  </a:lnTo>
                  <a:lnTo>
                    <a:pt x="310" y="80"/>
                  </a:lnTo>
                  <a:lnTo>
                    <a:pt x="308" y="88"/>
                  </a:lnTo>
                  <a:lnTo>
                    <a:pt x="308" y="88"/>
                  </a:lnTo>
                  <a:lnTo>
                    <a:pt x="308" y="92"/>
                  </a:lnTo>
                  <a:lnTo>
                    <a:pt x="310" y="96"/>
                  </a:lnTo>
                  <a:lnTo>
                    <a:pt x="312" y="98"/>
                  </a:lnTo>
                  <a:lnTo>
                    <a:pt x="316" y="100"/>
                  </a:lnTo>
                  <a:lnTo>
                    <a:pt x="316" y="100"/>
                  </a:lnTo>
                  <a:lnTo>
                    <a:pt x="318" y="100"/>
                  </a:lnTo>
                  <a:lnTo>
                    <a:pt x="318" y="100"/>
                  </a:lnTo>
                  <a:lnTo>
                    <a:pt x="324" y="98"/>
                  </a:lnTo>
                  <a:lnTo>
                    <a:pt x="326" y="96"/>
                  </a:lnTo>
                  <a:lnTo>
                    <a:pt x="328" y="92"/>
                  </a:lnTo>
                  <a:lnTo>
                    <a:pt x="328" y="92"/>
                  </a:lnTo>
                  <a:close/>
                  <a:moveTo>
                    <a:pt x="320" y="46"/>
                  </a:moveTo>
                  <a:lnTo>
                    <a:pt x="320" y="46"/>
                  </a:lnTo>
                  <a:lnTo>
                    <a:pt x="324" y="44"/>
                  </a:lnTo>
                  <a:lnTo>
                    <a:pt x="326" y="40"/>
                  </a:lnTo>
                  <a:lnTo>
                    <a:pt x="326" y="36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0" y="26"/>
                  </a:lnTo>
                  <a:lnTo>
                    <a:pt x="320" y="26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06" y="12"/>
                  </a:lnTo>
                  <a:lnTo>
                    <a:pt x="306" y="12"/>
                  </a:lnTo>
                  <a:lnTo>
                    <a:pt x="304" y="10"/>
                  </a:lnTo>
                  <a:lnTo>
                    <a:pt x="300" y="10"/>
                  </a:lnTo>
                  <a:lnTo>
                    <a:pt x="296" y="12"/>
                  </a:lnTo>
                  <a:lnTo>
                    <a:pt x="292" y="14"/>
                  </a:lnTo>
                  <a:lnTo>
                    <a:pt x="292" y="14"/>
                  </a:lnTo>
                  <a:lnTo>
                    <a:pt x="292" y="18"/>
                  </a:lnTo>
                  <a:lnTo>
                    <a:pt x="290" y="22"/>
                  </a:lnTo>
                  <a:lnTo>
                    <a:pt x="292" y="24"/>
                  </a:lnTo>
                  <a:lnTo>
                    <a:pt x="294" y="28"/>
                  </a:lnTo>
                  <a:lnTo>
                    <a:pt x="294" y="28"/>
                  </a:lnTo>
                  <a:lnTo>
                    <a:pt x="300" y="32"/>
                  </a:lnTo>
                  <a:lnTo>
                    <a:pt x="300" y="32"/>
                  </a:lnTo>
                  <a:lnTo>
                    <a:pt x="304" y="38"/>
                  </a:lnTo>
                  <a:lnTo>
                    <a:pt x="304" y="38"/>
                  </a:lnTo>
                  <a:lnTo>
                    <a:pt x="308" y="42"/>
                  </a:lnTo>
                  <a:lnTo>
                    <a:pt x="308" y="42"/>
                  </a:lnTo>
                  <a:lnTo>
                    <a:pt x="312" y="46"/>
                  </a:lnTo>
                  <a:lnTo>
                    <a:pt x="316" y="48"/>
                  </a:lnTo>
                  <a:lnTo>
                    <a:pt x="316" y="48"/>
                  </a:lnTo>
                  <a:lnTo>
                    <a:pt x="320" y="46"/>
                  </a:lnTo>
                  <a:lnTo>
                    <a:pt x="320" y="46"/>
                  </a:lnTo>
                  <a:close/>
                  <a:moveTo>
                    <a:pt x="252" y="22"/>
                  </a:moveTo>
                  <a:lnTo>
                    <a:pt x="252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8" y="20"/>
                  </a:lnTo>
                  <a:lnTo>
                    <a:pt x="268" y="20"/>
                  </a:lnTo>
                  <a:lnTo>
                    <a:pt x="274" y="20"/>
                  </a:lnTo>
                  <a:lnTo>
                    <a:pt x="274" y="20"/>
                  </a:lnTo>
                  <a:lnTo>
                    <a:pt x="278" y="20"/>
                  </a:lnTo>
                  <a:lnTo>
                    <a:pt x="280" y="18"/>
                  </a:lnTo>
                  <a:lnTo>
                    <a:pt x="284" y="14"/>
                  </a:lnTo>
                  <a:lnTo>
                    <a:pt x="284" y="12"/>
                  </a:lnTo>
                  <a:lnTo>
                    <a:pt x="284" y="12"/>
                  </a:lnTo>
                  <a:lnTo>
                    <a:pt x="284" y="8"/>
                  </a:lnTo>
                  <a:lnTo>
                    <a:pt x="282" y="4"/>
                  </a:lnTo>
                  <a:lnTo>
                    <a:pt x="278" y="2"/>
                  </a:lnTo>
                  <a:lnTo>
                    <a:pt x="274" y="0"/>
                  </a:lnTo>
                  <a:lnTo>
                    <a:pt x="274" y="0"/>
                  </a:lnTo>
                  <a:lnTo>
                    <a:pt x="266" y="0"/>
                  </a:lnTo>
                  <a:lnTo>
                    <a:pt x="266" y="0"/>
                  </a:lnTo>
                  <a:lnTo>
                    <a:pt x="258" y="2"/>
                  </a:lnTo>
                  <a:lnTo>
                    <a:pt x="258" y="2"/>
                  </a:lnTo>
                  <a:lnTo>
                    <a:pt x="250" y="2"/>
                  </a:lnTo>
                  <a:lnTo>
                    <a:pt x="250" y="2"/>
                  </a:lnTo>
                  <a:lnTo>
                    <a:pt x="246" y="4"/>
                  </a:lnTo>
                  <a:lnTo>
                    <a:pt x="242" y="6"/>
                  </a:lnTo>
                  <a:lnTo>
                    <a:pt x="240" y="10"/>
                  </a:lnTo>
                  <a:lnTo>
                    <a:pt x="240" y="14"/>
                  </a:lnTo>
                  <a:lnTo>
                    <a:pt x="240" y="14"/>
                  </a:lnTo>
                  <a:lnTo>
                    <a:pt x="242" y="18"/>
                  </a:lnTo>
                  <a:lnTo>
                    <a:pt x="244" y="20"/>
                  </a:lnTo>
                  <a:lnTo>
                    <a:pt x="248" y="22"/>
                  </a:lnTo>
                  <a:lnTo>
                    <a:pt x="250" y="22"/>
                  </a:lnTo>
                  <a:lnTo>
                    <a:pt x="250" y="22"/>
                  </a:lnTo>
                  <a:lnTo>
                    <a:pt x="252" y="22"/>
                  </a:lnTo>
                  <a:lnTo>
                    <a:pt x="252" y="22"/>
                  </a:lnTo>
                  <a:close/>
                  <a:moveTo>
                    <a:pt x="22" y="138"/>
                  </a:moveTo>
                  <a:lnTo>
                    <a:pt x="22" y="138"/>
                  </a:lnTo>
                  <a:lnTo>
                    <a:pt x="26" y="136"/>
                  </a:lnTo>
                  <a:lnTo>
                    <a:pt x="30" y="134"/>
                  </a:lnTo>
                  <a:lnTo>
                    <a:pt x="30" y="130"/>
                  </a:lnTo>
                  <a:lnTo>
                    <a:pt x="32" y="126"/>
                  </a:lnTo>
                  <a:lnTo>
                    <a:pt x="32" y="126"/>
                  </a:lnTo>
                  <a:lnTo>
                    <a:pt x="30" y="116"/>
                  </a:lnTo>
                  <a:lnTo>
                    <a:pt x="30" y="116"/>
                  </a:lnTo>
                  <a:lnTo>
                    <a:pt x="28" y="106"/>
                  </a:lnTo>
                  <a:lnTo>
                    <a:pt x="28" y="106"/>
                  </a:lnTo>
                  <a:lnTo>
                    <a:pt x="26" y="102"/>
                  </a:lnTo>
                  <a:lnTo>
                    <a:pt x="24" y="100"/>
                  </a:lnTo>
                  <a:lnTo>
                    <a:pt x="20" y="98"/>
                  </a:lnTo>
                  <a:lnTo>
                    <a:pt x="16" y="98"/>
                  </a:lnTo>
                  <a:lnTo>
                    <a:pt x="16" y="98"/>
                  </a:lnTo>
                  <a:lnTo>
                    <a:pt x="12" y="100"/>
                  </a:lnTo>
                  <a:lnTo>
                    <a:pt x="10" y="102"/>
                  </a:lnTo>
                  <a:lnTo>
                    <a:pt x="8" y="106"/>
                  </a:lnTo>
                  <a:lnTo>
                    <a:pt x="8" y="110"/>
                  </a:lnTo>
                  <a:lnTo>
                    <a:pt x="8" y="110"/>
                  </a:lnTo>
                  <a:lnTo>
                    <a:pt x="10" y="120"/>
                  </a:lnTo>
                  <a:lnTo>
                    <a:pt x="10" y="120"/>
                  </a:lnTo>
                  <a:lnTo>
                    <a:pt x="12" y="130"/>
                  </a:lnTo>
                  <a:lnTo>
                    <a:pt x="12" y="130"/>
                  </a:lnTo>
                  <a:lnTo>
                    <a:pt x="12" y="132"/>
                  </a:lnTo>
                  <a:lnTo>
                    <a:pt x="14" y="136"/>
                  </a:lnTo>
                  <a:lnTo>
                    <a:pt x="18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lnTo>
                    <a:pt x="22" y="138"/>
                  </a:lnTo>
                  <a:close/>
                  <a:moveTo>
                    <a:pt x="140" y="22"/>
                  </a:moveTo>
                  <a:lnTo>
                    <a:pt x="140" y="22"/>
                  </a:lnTo>
                  <a:lnTo>
                    <a:pt x="140" y="18"/>
                  </a:lnTo>
                  <a:lnTo>
                    <a:pt x="138" y="14"/>
                  </a:lnTo>
                  <a:lnTo>
                    <a:pt x="134" y="12"/>
                  </a:lnTo>
                  <a:lnTo>
                    <a:pt x="132" y="12"/>
                  </a:lnTo>
                  <a:lnTo>
                    <a:pt x="132" y="12"/>
                  </a:lnTo>
                  <a:lnTo>
                    <a:pt x="120" y="10"/>
                  </a:lnTo>
                  <a:lnTo>
                    <a:pt x="120" y="10"/>
                  </a:lnTo>
                  <a:lnTo>
                    <a:pt x="116" y="10"/>
                  </a:lnTo>
                  <a:lnTo>
                    <a:pt x="114" y="12"/>
                  </a:lnTo>
                  <a:lnTo>
                    <a:pt x="110" y="14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110" y="22"/>
                  </a:lnTo>
                  <a:lnTo>
                    <a:pt x="110" y="26"/>
                  </a:lnTo>
                  <a:lnTo>
                    <a:pt x="114" y="28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30" y="30"/>
                  </a:lnTo>
                  <a:lnTo>
                    <a:pt x="130" y="30"/>
                  </a:lnTo>
                  <a:lnTo>
                    <a:pt x="134" y="30"/>
                  </a:lnTo>
                  <a:lnTo>
                    <a:pt x="136" y="28"/>
                  </a:lnTo>
                  <a:lnTo>
                    <a:pt x="138" y="26"/>
                  </a:lnTo>
                  <a:lnTo>
                    <a:pt x="140" y="22"/>
                  </a:lnTo>
                  <a:lnTo>
                    <a:pt x="140" y="22"/>
                  </a:lnTo>
                  <a:close/>
                  <a:moveTo>
                    <a:pt x="100" y="16"/>
                  </a:moveTo>
                  <a:lnTo>
                    <a:pt x="100" y="16"/>
                  </a:lnTo>
                  <a:lnTo>
                    <a:pt x="100" y="12"/>
                  </a:lnTo>
                  <a:lnTo>
                    <a:pt x="98" y="8"/>
                  </a:lnTo>
                  <a:lnTo>
                    <a:pt x="96" y="6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84" y="2"/>
                  </a:lnTo>
                  <a:lnTo>
                    <a:pt x="84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2" y="0"/>
                  </a:lnTo>
                  <a:lnTo>
                    <a:pt x="58" y="2"/>
                  </a:lnTo>
                  <a:lnTo>
                    <a:pt x="56" y="6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4"/>
                  </a:lnTo>
                  <a:lnTo>
                    <a:pt x="58" y="16"/>
                  </a:lnTo>
                  <a:lnTo>
                    <a:pt x="62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80" y="22"/>
                  </a:lnTo>
                  <a:lnTo>
                    <a:pt x="80" y="22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0" y="24"/>
                  </a:lnTo>
                  <a:lnTo>
                    <a:pt x="90" y="24"/>
                  </a:lnTo>
                  <a:lnTo>
                    <a:pt x="96" y="22"/>
                  </a:lnTo>
                  <a:lnTo>
                    <a:pt x="98" y="18"/>
                  </a:lnTo>
                  <a:lnTo>
                    <a:pt x="100" y="16"/>
                  </a:lnTo>
                  <a:lnTo>
                    <a:pt x="100" y="1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6" y="22"/>
                  </a:lnTo>
                  <a:lnTo>
                    <a:pt x="48" y="18"/>
                  </a:lnTo>
                  <a:lnTo>
                    <a:pt x="48" y="14"/>
                  </a:lnTo>
                  <a:lnTo>
                    <a:pt x="46" y="10"/>
                  </a:lnTo>
                  <a:lnTo>
                    <a:pt x="46" y="10"/>
                  </a:lnTo>
                  <a:lnTo>
                    <a:pt x="44" y="8"/>
                  </a:lnTo>
                  <a:lnTo>
                    <a:pt x="40" y="6"/>
                  </a:lnTo>
                  <a:lnTo>
                    <a:pt x="36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0" y="28"/>
                  </a:lnTo>
                  <a:lnTo>
                    <a:pt x="10" y="32"/>
                  </a:lnTo>
                  <a:lnTo>
                    <a:pt x="12" y="36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4" y="40"/>
                  </a:ln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14" y="90"/>
                  </a:moveTo>
                  <a:lnTo>
                    <a:pt x="14" y="90"/>
                  </a:lnTo>
                  <a:lnTo>
                    <a:pt x="18" y="90"/>
                  </a:lnTo>
                  <a:lnTo>
                    <a:pt x="20" y="86"/>
                  </a:lnTo>
                  <a:lnTo>
                    <a:pt x="22" y="84"/>
                  </a:lnTo>
                  <a:lnTo>
                    <a:pt x="22" y="80"/>
                  </a:lnTo>
                  <a:lnTo>
                    <a:pt x="22" y="80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20" y="64"/>
                  </a:lnTo>
                  <a:lnTo>
                    <a:pt x="20" y="64"/>
                  </a:lnTo>
                  <a:lnTo>
                    <a:pt x="20" y="58"/>
                  </a:lnTo>
                  <a:lnTo>
                    <a:pt x="20" y="58"/>
                  </a:lnTo>
                  <a:lnTo>
                    <a:pt x="20" y="54"/>
                  </a:lnTo>
                  <a:lnTo>
                    <a:pt x="18" y="50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4" y="50"/>
                  </a:lnTo>
                  <a:lnTo>
                    <a:pt x="2" y="54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2" y="74"/>
                  </a:lnTo>
                  <a:lnTo>
                    <a:pt x="2" y="74"/>
                  </a:lnTo>
                  <a:lnTo>
                    <a:pt x="2" y="82"/>
                  </a:lnTo>
                  <a:lnTo>
                    <a:pt x="2" y="82"/>
                  </a:lnTo>
                  <a:lnTo>
                    <a:pt x="4" y="86"/>
                  </a:lnTo>
                  <a:lnTo>
                    <a:pt x="6" y="88"/>
                  </a:lnTo>
                  <a:lnTo>
                    <a:pt x="10" y="90"/>
                  </a:lnTo>
                  <a:lnTo>
                    <a:pt x="12" y="90"/>
                  </a:lnTo>
                  <a:lnTo>
                    <a:pt x="12" y="90"/>
                  </a:lnTo>
                  <a:lnTo>
                    <a:pt x="14" y="90"/>
                  </a:lnTo>
                  <a:lnTo>
                    <a:pt x="14" y="90"/>
                  </a:lnTo>
                  <a:close/>
                  <a:moveTo>
                    <a:pt x="110" y="324"/>
                  </a:moveTo>
                  <a:lnTo>
                    <a:pt x="110" y="324"/>
                  </a:lnTo>
                  <a:lnTo>
                    <a:pt x="120" y="322"/>
                  </a:lnTo>
                  <a:lnTo>
                    <a:pt x="120" y="322"/>
                  </a:lnTo>
                  <a:lnTo>
                    <a:pt x="130" y="320"/>
                  </a:lnTo>
                  <a:lnTo>
                    <a:pt x="130" y="320"/>
                  </a:lnTo>
                  <a:lnTo>
                    <a:pt x="132" y="318"/>
                  </a:lnTo>
                  <a:lnTo>
                    <a:pt x="136" y="316"/>
                  </a:lnTo>
                  <a:lnTo>
                    <a:pt x="138" y="312"/>
                  </a:lnTo>
                  <a:lnTo>
                    <a:pt x="138" y="308"/>
                  </a:lnTo>
                  <a:lnTo>
                    <a:pt x="138" y="308"/>
                  </a:lnTo>
                  <a:lnTo>
                    <a:pt x="136" y="306"/>
                  </a:lnTo>
                  <a:lnTo>
                    <a:pt x="134" y="302"/>
                  </a:lnTo>
                  <a:lnTo>
                    <a:pt x="130" y="300"/>
                  </a:lnTo>
                  <a:lnTo>
                    <a:pt x="126" y="300"/>
                  </a:lnTo>
                  <a:lnTo>
                    <a:pt x="126" y="300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06" y="304"/>
                  </a:lnTo>
                  <a:lnTo>
                    <a:pt x="106" y="304"/>
                  </a:lnTo>
                  <a:lnTo>
                    <a:pt x="102" y="306"/>
                  </a:lnTo>
                  <a:lnTo>
                    <a:pt x="100" y="308"/>
                  </a:lnTo>
                  <a:lnTo>
                    <a:pt x="98" y="312"/>
                  </a:lnTo>
                  <a:lnTo>
                    <a:pt x="98" y="316"/>
                  </a:lnTo>
                  <a:lnTo>
                    <a:pt x="98" y="316"/>
                  </a:lnTo>
                  <a:lnTo>
                    <a:pt x="100" y="318"/>
                  </a:lnTo>
                  <a:lnTo>
                    <a:pt x="102" y="322"/>
                  </a:lnTo>
                  <a:lnTo>
                    <a:pt x="108" y="324"/>
                  </a:lnTo>
                  <a:lnTo>
                    <a:pt x="108" y="324"/>
                  </a:lnTo>
                  <a:lnTo>
                    <a:pt x="110" y="324"/>
                  </a:lnTo>
                  <a:lnTo>
                    <a:pt x="110" y="324"/>
                  </a:lnTo>
                  <a:close/>
                  <a:moveTo>
                    <a:pt x="30" y="214"/>
                  </a:moveTo>
                  <a:lnTo>
                    <a:pt x="30" y="214"/>
                  </a:lnTo>
                  <a:lnTo>
                    <a:pt x="30" y="204"/>
                  </a:lnTo>
                  <a:lnTo>
                    <a:pt x="30" y="204"/>
                  </a:lnTo>
                  <a:lnTo>
                    <a:pt x="30" y="200"/>
                  </a:lnTo>
                  <a:lnTo>
                    <a:pt x="30" y="196"/>
                  </a:lnTo>
                  <a:lnTo>
                    <a:pt x="26" y="194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18" y="192"/>
                  </a:lnTo>
                  <a:lnTo>
                    <a:pt x="16" y="194"/>
                  </a:lnTo>
                  <a:lnTo>
                    <a:pt x="12" y="196"/>
                  </a:lnTo>
                  <a:lnTo>
                    <a:pt x="12" y="200"/>
                  </a:lnTo>
                  <a:lnTo>
                    <a:pt x="12" y="200"/>
                  </a:lnTo>
                  <a:lnTo>
                    <a:pt x="10" y="210"/>
                  </a:lnTo>
                  <a:lnTo>
                    <a:pt x="10" y="210"/>
                  </a:lnTo>
                  <a:lnTo>
                    <a:pt x="10" y="214"/>
                  </a:lnTo>
                  <a:lnTo>
                    <a:pt x="12" y="218"/>
                  </a:lnTo>
                  <a:lnTo>
                    <a:pt x="14" y="222"/>
                  </a:lnTo>
                  <a:lnTo>
                    <a:pt x="18" y="222"/>
                  </a:lnTo>
                  <a:lnTo>
                    <a:pt x="18" y="222"/>
                  </a:lnTo>
                  <a:lnTo>
                    <a:pt x="20" y="222"/>
                  </a:lnTo>
                  <a:lnTo>
                    <a:pt x="20" y="222"/>
                  </a:lnTo>
                  <a:lnTo>
                    <a:pt x="22" y="222"/>
                  </a:lnTo>
                  <a:lnTo>
                    <a:pt x="26" y="220"/>
                  </a:lnTo>
                  <a:lnTo>
                    <a:pt x="28" y="218"/>
                  </a:lnTo>
                  <a:lnTo>
                    <a:pt x="30" y="214"/>
                  </a:lnTo>
                  <a:lnTo>
                    <a:pt x="30" y="214"/>
                  </a:lnTo>
                  <a:close/>
                  <a:moveTo>
                    <a:pt x="20" y="266"/>
                  </a:moveTo>
                  <a:lnTo>
                    <a:pt x="20" y="266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2" y="252"/>
                  </a:lnTo>
                  <a:lnTo>
                    <a:pt x="22" y="252"/>
                  </a:lnTo>
                  <a:lnTo>
                    <a:pt x="24" y="244"/>
                  </a:lnTo>
                  <a:lnTo>
                    <a:pt x="24" y="244"/>
                  </a:lnTo>
                  <a:lnTo>
                    <a:pt x="24" y="240"/>
                  </a:lnTo>
                  <a:lnTo>
                    <a:pt x="22" y="236"/>
                  </a:lnTo>
                  <a:lnTo>
                    <a:pt x="20" y="234"/>
                  </a:lnTo>
                  <a:lnTo>
                    <a:pt x="16" y="232"/>
                  </a:lnTo>
                  <a:lnTo>
                    <a:pt x="16" y="232"/>
                  </a:lnTo>
                  <a:lnTo>
                    <a:pt x="12" y="232"/>
                  </a:lnTo>
                  <a:lnTo>
                    <a:pt x="8" y="234"/>
                  </a:lnTo>
                  <a:lnTo>
                    <a:pt x="6" y="236"/>
                  </a:lnTo>
                  <a:lnTo>
                    <a:pt x="4" y="240"/>
                  </a:lnTo>
                  <a:lnTo>
                    <a:pt x="4" y="240"/>
                  </a:lnTo>
                  <a:lnTo>
                    <a:pt x="2" y="248"/>
                  </a:lnTo>
                  <a:lnTo>
                    <a:pt x="2" y="248"/>
                  </a:lnTo>
                  <a:lnTo>
                    <a:pt x="0" y="258"/>
                  </a:lnTo>
                  <a:lnTo>
                    <a:pt x="0" y="258"/>
                  </a:lnTo>
                  <a:lnTo>
                    <a:pt x="0" y="266"/>
                  </a:lnTo>
                  <a:lnTo>
                    <a:pt x="0" y="266"/>
                  </a:lnTo>
                  <a:lnTo>
                    <a:pt x="0" y="270"/>
                  </a:lnTo>
                  <a:lnTo>
                    <a:pt x="2" y="272"/>
                  </a:lnTo>
                  <a:lnTo>
                    <a:pt x="6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0" y="276"/>
                  </a:lnTo>
                  <a:lnTo>
                    <a:pt x="14" y="276"/>
                  </a:lnTo>
                  <a:lnTo>
                    <a:pt x="18" y="274"/>
                  </a:lnTo>
                  <a:lnTo>
                    <a:pt x="20" y="270"/>
                  </a:lnTo>
                  <a:lnTo>
                    <a:pt x="20" y="266"/>
                  </a:lnTo>
                  <a:lnTo>
                    <a:pt x="20" y="266"/>
                  </a:lnTo>
                  <a:close/>
                  <a:moveTo>
                    <a:pt x="38" y="318"/>
                  </a:moveTo>
                  <a:lnTo>
                    <a:pt x="38" y="318"/>
                  </a:lnTo>
                  <a:lnTo>
                    <a:pt x="40" y="314"/>
                  </a:lnTo>
                  <a:lnTo>
                    <a:pt x="40" y="310"/>
                  </a:lnTo>
                  <a:lnTo>
                    <a:pt x="40" y="306"/>
                  </a:lnTo>
                  <a:lnTo>
                    <a:pt x="36" y="304"/>
                  </a:lnTo>
                  <a:lnTo>
                    <a:pt x="36" y="304"/>
                  </a:lnTo>
                  <a:lnTo>
                    <a:pt x="32" y="300"/>
                  </a:lnTo>
                  <a:lnTo>
                    <a:pt x="32" y="300"/>
                  </a:lnTo>
                  <a:lnTo>
                    <a:pt x="28" y="294"/>
                  </a:lnTo>
                  <a:lnTo>
                    <a:pt x="28" y="294"/>
                  </a:lnTo>
                  <a:lnTo>
                    <a:pt x="24" y="290"/>
                  </a:lnTo>
                  <a:lnTo>
                    <a:pt x="24" y="290"/>
                  </a:lnTo>
                  <a:lnTo>
                    <a:pt x="22" y="286"/>
                  </a:lnTo>
                  <a:lnTo>
                    <a:pt x="18" y="284"/>
                  </a:lnTo>
                  <a:lnTo>
                    <a:pt x="14" y="284"/>
                  </a:lnTo>
                  <a:lnTo>
                    <a:pt x="10" y="286"/>
                  </a:lnTo>
                  <a:lnTo>
                    <a:pt x="10" y="286"/>
                  </a:lnTo>
                  <a:lnTo>
                    <a:pt x="8" y="288"/>
                  </a:lnTo>
                  <a:lnTo>
                    <a:pt x="6" y="290"/>
                  </a:lnTo>
                  <a:lnTo>
                    <a:pt x="6" y="294"/>
                  </a:lnTo>
                  <a:lnTo>
                    <a:pt x="6" y="298"/>
                  </a:lnTo>
                  <a:lnTo>
                    <a:pt x="6" y="298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8" y="314"/>
                  </a:lnTo>
                  <a:lnTo>
                    <a:pt x="18" y="314"/>
                  </a:lnTo>
                  <a:lnTo>
                    <a:pt x="24" y="320"/>
                  </a:lnTo>
                  <a:lnTo>
                    <a:pt x="24" y="320"/>
                  </a:lnTo>
                  <a:lnTo>
                    <a:pt x="30" y="322"/>
                  </a:lnTo>
                  <a:lnTo>
                    <a:pt x="30" y="322"/>
                  </a:lnTo>
                  <a:lnTo>
                    <a:pt x="36" y="320"/>
                  </a:lnTo>
                  <a:lnTo>
                    <a:pt x="38" y="318"/>
                  </a:lnTo>
                  <a:lnTo>
                    <a:pt x="38" y="318"/>
                  </a:lnTo>
                  <a:close/>
                  <a:moveTo>
                    <a:pt x="66" y="330"/>
                  </a:moveTo>
                  <a:lnTo>
                    <a:pt x="66" y="330"/>
                  </a:lnTo>
                  <a:lnTo>
                    <a:pt x="74" y="330"/>
                  </a:lnTo>
                  <a:lnTo>
                    <a:pt x="74" y="330"/>
                  </a:lnTo>
                  <a:lnTo>
                    <a:pt x="82" y="328"/>
                  </a:lnTo>
                  <a:lnTo>
                    <a:pt x="82" y="328"/>
                  </a:lnTo>
                  <a:lnTo>
                    <a:pt x="86" y="328"/>
                  </a:lnTo>
                  <a:lnTo>
                    <a:pt x="90" y="324"/>
                  </a:lnTo>
                  <a:lnTo>
                    <a:pt x="90" y="322"/>
                  </a:lnTo>
                  <a:lnTo>
                    <a:pt x="90" y="318"/>
                  </a:lnTo>
                  <a:lnTo>
                    <a:pt x="90" y="318"/>
                  </a:lnTo>
                  <a:lnTo>
                    <a:pt x="90" y="314"/>
                  </a:lnTo>
                  <a:lnTo>
                    <a:pt x="86" y="310"/>
                  </a:lnTo>
                  <a:lnTo>
                    <a:pt x="84" y="310"/>
                  </a:lnTo>
                  <a:lnTo>
                    <a:pt x="80" y="310"/>
                  </a:lnTo>
                  <a:lnTo>
                    <a:pt x="80" y="310"/>
                  </a:lnTo>
                  <a:lnTo>
                    <a:pt x="72" y="310"/>
                  </a:lnTo>
                  <a:lnTo>
                    <a:pt x="72" y="310"/>
                  </a:lnTo>
                  <a:lnTo>
                    <a:pt x="64" y="310"/>
                  </a:lnTo>
                  <a:lnTo>
                    <a:pt x="64" y="310"/>
                  </a:lnTo>
                  <a:lnTo>
                    <a:pt x="58" y="310"/>
                  </a:lnTo>
                  <a:lnTo>
                    <a:pt x="58" y="310"/>
                  </a:lnTo>
                  <a:lnTo>
                    <a:pt x="54" y="312"/>
                  </a:lnTo>
                  <a:lnTo>
                    <a:pt x="50" y="314"/>
                  </a:lnTo>
                  <a:lnTo>
                    <a:pt x="48" y="316"/>
                  </a:lnTo>
                  <a:lnTo>
                    <a:pt x="48" y="320"/>
                  </a:lnTo>
                  <a:lnTo>
                    <a:pt x="48" y="320"/>
                  </a:lnTo>
                  <a:lnTo>
                    <a:pt x="48" y="324"/>
                  </a:lnTo>
                  <a:lnTo>
                    <a:pt x="50" y="328"/>
                  </a:lnTo>
                  <a:lnTo>
                    <a:pt x="54" y="330"/>
                  </a:lnTo>
                  <a:lnTo>
                    <a:pt x="58" y="330"/>
                  </a:lnTo>
                  <a:lnTo>
                    <a:pt x="58" y="330"/>
                  </a:lnTo>
                  <a:lnTo>
                    <a:pt x="60" y="332"/>
                  </a:lnTo>
                  <a:lnTo>
                    <a:pt x="60" y="332"/>
                  </a:lnTo>
                  <a:lnTo>
                    <a:pt x="66" y="330"/>
                  </a:lnTo>
                  <a:lnTo>
                    <a:pt x="66" y="330"/>
                  </a:lnTo>
                  <a:close/>
                  <a:moveTo>
                    <a:pt x="316" y="234"/>
                  </a:moveTo>
                  <a:lnTo>
                    <a:pt x="316" y="234"/>
                  </a:lnTo>
                  <a:lnTo>
                    <a:pt x="320" y="232"/>
                  </a:lnTo>
                  <a:lnTo>
                    <a:pt x="322" y="228"/>
                  </a:lnTo>
                  <a:lnTo>
                    <a:pt x="324" y="226"/>
                  </a:lnTo>
                  <a:lnTo>
                    <a:pt x="324" y="222"/>
                  </a:lnTo>
                  <a:lnTo>
                    <a:pt x="324" y="222"/>
                  </a:lnTo>
                  <a:lnTo>
                    <a:pt x="322" y="212"/>
                  </a:lnTo>
                  <a:lnTo>
                    <a:pt x="322" y="212"/>
                  </a:lnTo>
                  <a:lnTo>
                    <a:pt x="320" y="202"/>
                  </a:lnTo>
                  <a:lnTo>
                    <a:pt x="320" y="202"/>
                  </a:lnTo>
                  <a:lnTo>
                    <a:pt x="318" y="198"/>
                  </a:lnTo>
                  <a:lnTo>
                    <a:pt x="316" y="196"/>
                  </a:lnTo>
                  <a:lnTo>
                    <a:pt x="312" y="194"/>
                  </a:lnTo>
                  <a:lnTo>
                    <a:pt x="308" y="194"/>
                  </a:lnTo>
                  <a:lnTo>
                    <a:pt x="308" y="194"/>
                  </a:lnTo>
                  <a:lnTo>
                    <a:pt x="306" y="196"/>
                  </a:lnTo>
                  <a:lnTo>
                    <a:pt x="302" y="198"/>
                  </a:lnTo>
                  <a:lnTo>
                    <a:pt x="300" y="202"/>
                  </a:lnTo>
                  <a:lnTo>
                    <a:pt x="300" y="206"/>
                  </a:lnTo>
                  <a:lnTo>
                    <a:pt x="300" y="206"/>
                  </a:lnTo>
                  <a:lnTo>
                    <a:pt x="302" y="214"/>
                  </a:lnTo>
                  <a:lnTo>
                    <a:pt x="302" y="214"/>
                  </a:lnTo>
                  <a:lnTo>
                    <a:pt x="304" y="226"/>
                  </a:lnTo>
                  <a:lnTo>
                    <a:pt x="304" y="226"/>
                  </a:lnTo>
                  <a:lnTo>
                    <a:pt x="306" y="228"/>
                  </a:lnTo>
                  <a:lnTo>
                    <a:pt x="308" y="232"/>
                  </a:lnTo>
                  <a:lnTo>
                    <a:pt x="314" y="234"/>
                  </a:lnTo>
                  <a:lnTo>
                    <a:pt x="314" y="234"/>
                  </a:lnTo>
                  <a:lnTo>
                    <a:pt x="316" y="234"/>
                  </a:lnTo>
                  <a:lnTo>
                    <a:pt x="316" y="234"/>
                  </a:lnTo>
                  <a:close/>
                  <a:moveTo>
                    <a:pt x="222" y="314"/>
                  </a:moveTo>
                  <a:lnTo>
                    <a:pt x="222" y="314"/>
                  </a:lnTo>
                  <a:lnTo>
                    <a:pt x="222" y="310"/>
                  </a:lnTo>
                  <a:lnTo>
                    <a:pt x="220" y="306"/>
                  </a:lnTo>
                  <a:lnTo>
                    <a:pt x="218" y="304"/>
                  </a:lnTo>
                  <a:lnTo>
                    <a:pt x="214" y="302"/>
                  </a:lnTo>
                  <a:lnTo>
                    <a:pt x="214" y="302"/>
                  </a:lnTo>
                  <a:lnTo>
                    <a:pt x="204" y="300"/>
                  </a:lnTo>
                  <a:lnTo>
                    <a:pt x="204" y="300"/>
                  </a:lnTo>
                  <a:lnTo>
                    <a:pt x="200" y="300"/>
                  </a:lnTo>
                  <a:lnTo>
                    <a:pt x="196" y="302"/>
                  </a:lnTo>
                  <a:lnTo>
                    <a:pt x="194" y="306"/>
                  </a:lnTo>
                  <a:lnTo>
                    <a:pt x="192" y="310"/>
                  </a:lnTo>
                  <a:lnTo>
                    <a:pt x="192" y="310"/>
                  </a:lnTo>
                  <a:lnTo>
                    <a:pt x="192" y="314"/>
                  </a:lnTo>
                  <a:lnTo>
                    <a:pt x="194" y="316"/>
                  </a:lnTo>
                  <a:lnTo>
                    <a:pt x="196" y="320"/>
                  </a:lnTo>
                  <a:lnTo>
                    <a:pt x="200" y="320"/>
                  </a:lnTo>
                  <a:lnTo>
                    <a:pt x="200" y="320"/>
                  </a:lnTo>
                  <a:lnTo>
                    <a:pt x="210" y="322"/>
                  </a:lnTo>
                  <a:lnTo>
                    <a:pt x="210" y="322"/>
                  </a:lnTo>
                  <a:lnTo>
                    <a:pt x="212" y="322"/>
                  </a:lnTo>
                  <a:lnTo>
                    <a:pt x="212" y="322"/>
                  </a:lnTo>
                  <a:lnTo>
                    <a:pt x="216" y="322"/>
                  </a:lnTo>
                  <a:lnTo>
                    <a:pt x="220" y="320"/>
                  </a:lnTo>
                  <a:lnTo>
                    <a:pt x="222" y="318"/>
                  </a:lnTo>
                  <a:lnTo>
                    <a:pt x="222" y="314"/>
                  </a:lnTo>
                  <a:lnTo>
                    <a:pt x="222" y="314"/>
                  </a:lnTo>
                  <a:close/>
                  <a:moveTo>
                    <a:pt x="276" y="322"/>
                  </a:moveTo>
                  <a:lnTo>
                    <a:pt x="276" y="322"/>
                  </a:lnTo>
                  <a:lnTo>
                    <a:pt x="276" y="318"/>
                  </a:lnTo>
                  <a:lnTo>
                    <a:pt x="274" y="314"/>
                  </a:lnTo>
                  <a:lnTo>
                    <a:pt x="270" y="312"/>
                  </a:lnTo>
                  <a:lnTo>
                    <a:pt x="266" y="312"/>
                  </a:lnTo>
                  <a:lnTo>
                    <a:pt x="266" y="312"/>
                  </a:lnTo>
                  <a:lnTo>
                    <a:pt x="260" y="310"/>
                  </a:lnTo>
                  <a:lnTo>
                    <a:pt x="260" y="310"/>
                  </a:lnTo>
                  <a:lnTo>
                    <a:pt x="252" y="310"/>
                  </a:lnTo>
                  <a:lnTo>
                    <a:pt x="252" y="310"/>
                  </a:lnTo>
                  <a:lnTo>
                    <a:pt x="244" y="308"/>
                  </a:lnTo>
                  <a:lnTo>
                    <a:pt x="244" y="308"/>
                  </a:lnTo>
                  <a:lnTo>
                    <a:pt x="240" y="308"/>
                  </a:lnTo>
                  <a:lnTo>
                    <a:pt x="236" y="310"/>
                  </a:lnTo>
                  <a:lnTo>
                    <a:pt x="234" y="312"/>
                  </a:lnTo>
                  <a:lnTo>
                    <a:pt x="232" y="316"/>
                  </a:lnTo>
                  <a:lnTo>
                    <a:pt x="232" y="316"/>
                  </a:lnTo>
                  <a:lnTo>
                    <a:pt x="232" y="320"/>
                  </a:lnTo>
                  <a:lnTo>
                    <a:pt x="234" y="324"/>
                  </a:lnTo>
                  <a:lnTo>
                    <a:pt x="236" y="326"/>
                  </a:lnTo>
                  <a:lnTo>
                    <a:pt x="240" y="328"/>
                  </a:lnTo>
                  <a:lnTo>
                    <a:pt x="240" y="328"/>
                  </a:lnTo>
                  <a:lnTo>
                    <a:pt x="248" y="330"/>
                  </a:lnTo>
                  <a:lnTo>
                    <a:pt x="248" y="330"/>
                  </a:lnTo>
                  <a:lnTo>
                    <a:pt x="258" y="330"/>
                  </a:lnTo>
                  <a:lnTo>
                    <a:pt x="258" y="330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66" y="332"/>
                  </a:lnTo>
                  <a:lnTo>
                    <a:pt x="270" y="330"/>
                  </a:lnTo>
                  <a:lnTo>
                    <a:pt x="274" y="328"/>
                  </a:lnTo>
                  <a:lnTo>
                    <a:pt x="276" y="326"/>
                  </a:lnTo>
                  <a:lnTo>
                    <a:pt x="276" y="322"/>
                  </a:lnTo>
                  <a:lnTo>
                    <a:pt x="276" y="322"/>
                  </a:lnTo>
                  <a:close/>
                  <a:moveTo>
                    <a:pt x="298" y="326"/>
                  </a:moveTo>
                  <a:lnTo>
                    <a:pt x="298" y="326"/>
                  </a:lnTo>
                  <a:lnTo>
                    <a:pt x="306" y="320"/>
                  </a:lnTo>
                  <a:lnTo>
                    <a:pt x="306" y="320"/>
                  </a:lnTo>
                  <a:lnTo>
                    <a:pt x="314" y="314"/>
                  </a:lnTo>
                  <a:lnTo>
                    <a:pt x="314" y="314"/>
                  </a:lnTo>
                  <a:lnTo>
                    <a:pt x="320" y="306"/>
                  </a:lnTo>
                  <a:lnTo>
                    <a:pt x="320" y="306"/>
                  </a:lnTo>
                  <a:lnTo>
                    <a:pt x="322" y="304"/>
                  </a:lnTo>
                  <a:lnTo>
                    <a:pt x="322" y="300"/>
                  </a:lnTo>
                  <a:lnTo>
                    <a:pt x="320" y="296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4" y="290"/>
                  </a:lnTo>
                  <a:lnTo>
                    <a:pt x="310" y="290"/>
                  </a:lnTo>
                  <a:lnTo>
                    <a:pt x="306" y="292"/>
                  </a:lnTo>
                  <a:lnTo>
                    <a:pt x="304" y="294"/>
                  </a:lnTo>
                  <a:lnTo>
                    <a:pt x="304" y="294"/>
                  </a:lnTo>
                  <a:lnTo>
                    <a:pt x="300" y="300"/>
                  </a:lnTo>
                  <a:lnTo>
                    <a:pt x="300" y="300"/>
                  </a:lnTo>
                  <a:lnTo>
                    <a:pt x="294" y="304"/>
                  </a:lnTo>
                  <a:lnTo>
                    <a:pt x="294" y="304"/>
                  </a:lnTo>
                  <a:lnTo>
                    <a:pt x="290" y="308"/>
                  </a:lnTo>
                  <a:lnTo>
                    <a:pt x="290" y="308"/>
                  </a:lnTo>
                  <a:lnTo>
                    <a:pt x="286" y="310"/>
                  </a:lnTo>
                  <a:lnTo>
                    <a:pt x="284" y="314"/>
                  </a:lnTo>
                  <a:lnTo>
                    <a:pt x="284" y="316"/>
                  </a:lnTo>
                  <a:lnTo>
                    <a:pt x="286" y="320"/>
                  </a:lnTo>
                  <a:lnTo>
                    <a:pt x="286" y="320"/>
                  </a:lnTo>
                  <a:lnTo>
                    <a:pt x="288" y="324"/>
                  </a:lnTo>
                  <a:lnTo>
                    <a:pt x="294" y="326"/>
                  </a:lnTo>
                  <a:lnTo>
                    <a:pt x="294" y="326"/>
                  </a:lnTo>
                  <a:lnTo>
                    <a:pt x="298" y="326"/>
                  </a:lnTo>
                  <a:lnTo>
                    <a:pt x="298" y="326"/>
                  </a:lnTo>
                  <a:close/>
                  <a:moveTo>
                    <a:pt x="330" y="274"/>
                  </a:moveTo>
                  <a:lnTo>
                    <a:pt x="330" y="274"/>
                  </a:lnTo>
                  <a:lnTo>
                    <a:pt x="330" y="266"/>
                  </a:lnTo>
                  <a:lnTo>
                    <a:pt x="330" y="266"/>
                  </a:lnTo>
                  <a:lnTo>
                    <a:pt x="330" y="258"/>
                  </a:lnTo>
                  <a:lnTo>
                    <a:pt x="330" y="258"/>
                  </a:lnTo>
                  <a:lnTo>
                    <a:pt x="328" y="248"/>
                  </a:lnTo>
                  <a:lnTo>
                    <a:pt x="328" y="248"/>
                  </a:lnTo>
                  <a:lnTo>
                    <a:pt x="328" y="246"/>
                  </a:lnTo>
                  <a:lnTo>
                    <a:pt x="324" y="242"/>
                  </a:lnTo>
                  <a:lnTo>
                    <a:pt x="322" y="240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4" y="242"/>
                  </a:lnTo>
                  <a:lnTo>
                    <a:pt x="310" y="244"/>
                  </a:lnTo>
                  <a:lnTo>
                    <a:pt x="310" y="248"/>
                  </a:lnTo>
                  <a:lnTo>
                    <a:pt x="310" y="252"/>
                  </a:lnTo>
                  <a:lnTo>
                    <a:pt x="310" y="252"/>
                  </a:lnTo>
                  <a:lnTo>
                    <a:pt x="310" y="260"/>
                  </a:lnTo>
                  <a:lnTo>
                    <a:pt x="310" y="260"/>
                  </a:lnTo>
                  <a:lnTo>
                    <a:pt x="310" y="268"/>
                  </a:lnTo>
                  <a:lnTo>
                    <a:pt x="310" y="268"/>
                  </a:lnTo>
                  <a:lnTo>
                    <a:pt x="312" y="274"/>
                  </a:lnTo>
                  <a:lnTo>
                    <a:pt x="312" y="274"/>
                  </a:lnTo>
                  <a:lnTo>
                    <a:pt x="312" y="278"/>
                  </a:lnTo>
                  <a:lnTo>
                    <a:pt x="314" y="280"/>
                  </a:lnTo>
                  <a:lnTo>
                    <a:pt x="316" y="282"/>
                  </a:lnTo>
                  <a:lnTo>
                    <a:pt x="320" y="284"/>
                  </a:lnTo>
                  <a:lnTo>
                    <a:pt x="320" y="284"/>
                  </a:lnTo>
                  <a:lnTo>
                    <a:pt x="322" y="284"/>
                  </a:lnTo>
                  <a:lnTo>
                    <a:pt x="322" y="284"/>
                  </a:lnTo>
                  <a:lnTo>
                    <a:pt x="324" y="284"/>
                  </a:lnTo>
                  <a:lnTo>
                    <a:pt x="328" y="282"/>
                  </a:lnTo>
                  <a:lnTo>
                    <a:pt x="330" y="278"/>
                  </a:lnTo>
                  <a:lnTo>
                    <a:pt x="330" y="274"/>
                  </a:lnTo>
                  <a:lnTo>
                    <a:pt x="330" y="274"/>
                  </a:lnTo>
                  <a:close/>
                  <a:moveTo>
                    <a:pt x="36" y="140"/>
                  </a:moveTo>
                  <a:lnTo>
                    <a:pt x="36" y="140"/>
                  </a:lnTo>
                  <a:lnTo>
                    <a:pt x="42" y="120"/>
                  </a:lnTo>
                  <a:lnTo>
                    <a:pt x="50" y="104"/>
                  </a:lnTo>
                  <a:lnTo>
                    <a:pt x="60" y="88"/>
                  </a:lnTo>
                  <a:lnTo>
                    <a:pt x="72" y="72"/>
                  </a:lnTo>
                  <a:lnTo>
                    <a:pt x="88" y="60"/>
                  </a:lnTo>
                  <a:lnTo>
                    <a:pt x="104" y="50"/>
                  </a:lnTo>
                  <a:lnTo>
                    <a:pt x="120" y="42"/>
                  </a:lnTo>
                  <a:lnTo>
                    <a:pt x="140" y="36"/>
                  </a:lnTo>
                  <a:lnTo>
                    <a:pt x="140" y="104"/>
                  </a:lnTo>
                  <a:lnTo>
                    <a:pt x="140" y="104"/>
                  </a:lnTo>
                  <a:lnTo>
                    <a:pt x="128" y="110"/>
                  </a:lnTo>
                  <a:lnTo>
                    <a:pt x="118" y="118"/>
                  </a:lnTo>
                  <a:lnTo>
                    <a:pt x="110" y="128"/>
                  </a:lnTo>
                  <a:lnTo>
                    <a:pt x="104" y="140"/>
                  </a:lnTo>
                  <a:lnTo>
                    <a:pt x="36" y="140"/>
                  </a:lnTo>
                  <a:close/>
                  <a:moveTo>
                    <a:pt x="192" y="104"/>
                  </a:moveTo>
                  <a:lnTo>
                    <a:pt x="192" y="104"/>
                  </a:lnTo>
                  <a:lnTo>
                    <a:pt x="204" y="110"/>
                  </a:lnTo>
                  <a:lnTo>
                    <a:pt x="214" y="118"/>
                  </a:lnTo>
                  <a:lnTo>
                    <a:pt x="222" y="128"/>
                  </a:lnTo>
                  <a:lnTo>
                    <a:pt x="228" y="140"/>
                  </a:lnTo>
                  <a:lnTo>
                    <a:pt x="296" y="140"/>
                  </a:lnTo>
                  <a:lnTo>
                    <a:pt x="296" y="140"/>
                  </a:lnTo>
                  <a:lnTo>
                    <a:pt x="290" y="120"/>
                  </a:lnTo>
                  <a:lnTo>
                    <a:pt x="282" y="104"/>
                  </a:lnTo>
                  <a:lnTo>
                    <a:pt x="272" y="88"/>
                  </a:lnTo>
                  <a:lnTo>
                    <a:pt x="260" y="72"/>
                  </a:lnTo>
                  <a:lnTo>
                    <a:pt x="244" y="60"/>
                  </a:lnTo>
                  <a:lnTo>
                    <a:pt x="228" y="50"/>
                  </a:lnTo>
                  <a:lnTo>
                    <a:pt x="212" y="42"/>
                  </a:lnTo>
                  <a:lnTo>
                    <a:pt x="192" y="36"/>
                  </a:lnTo>
                  <a:lnTo>
                    <a:pt x="192" y="104"/>
                  </a:lnTo>
                  <a:close/>
                  <a:moveTo>
                    <a:pt x="228" y="192"/>
                  </a:moveTo>
                  <a:lnTo>
                    <a:pt x="228" y="192"/>
                  </a:lnTo>
                  <a:lnTo>
                    <a:pt x="222" y="204"/>
                  </a:lnTo>
                  <a:lnTo>
                    <a:pt x="214" y="214"/>
                  </a:lnTo>
                  <a:lnTo>
                    <a:pt x="204" y="222"/>
                  </a:lnTo>
                  <a:lnTo>
                    <a:pt x="192" y="228"/>
                  </a:lnTo>
                  <a:lnTo>
                    <a:pt x="192" y="296"/>
                  </a:lnTo>
                  <a:lnTo>
                    <a:pt x="192" y="296"/>
                  </a:lnTo>
                  <a:lnTo>
                    <a:pt x="212" y="290"/>
                  </a:lnTo>
                  <a:lnTo>
                    <a:pt x="228" y="282"/>
                  </a:lnTo>
                  <a:lnTo>
                    <a:pt x="244" y="272"/>
                  </a:lnTo>
                  <a:lnTo>
                    <a:pt x="260" y="260"/>
                  </a:lnTo>
                  <a:lnTo>
                    <a:pt x="272" y="246"/>
                  </a:lnTo>
                  <a:lnTo>
                    <a:pt x="282" y="228"/>
                  </a:lnTo>
                  <a:lnTo>
                    <a:pt x="290" y="212"/>
                  </a:lnTo>
                  <a:lnTo>
                    <a:pt x="296" y="192"/>
                  </a:lnTo>
                  <a:lnTo>
                    <a:pt x="228" y="192"/>
                  </a:lnTo>
                  <a:close/>
                  <a:moveTo>
                    <a:pt x="140" y="228"/>
                  </a:moveTo>
                  <a:lnTo>
                    <a:pt x="140" y="228"/>
                  </a:lnTo>
                  <a:lnTo>
                    <a:pt x="128" y="222"/>
                  </a:lnTo>
                  <a:lnTo>
                    <a:pt x="118" y="214"/>
                  </a:lnTo>
                  <a:lnTo>
                    <a:pt x="110" y="204"/>
                  </a:lnTo>
                  <a:lnTo>
                    <a:pt x="104" y="192"/>
                  </a:lnTo>
                  <a:lnTo>
                    <a:pt x="36" y="192"/>
                  </a:lnTo>
                  <a:lnTo>
                    <a:pt x="36" y="192"/>
                  </a:lnTo>
                  <a:lnTo>
                    <a:pt x="42" y="212"/>
                  </a:lnTo>
                  <a:lnTo>
                    <a:pt x="50" y="228"/>
                  </a:lnTo>
                  <a:lnTo>
                    <a:pt x="60" y="244"/>
                  </a:lnTo>
                  <a:lnTo>
                    <a:pt x="72" y="260"/>
                  </a:lnTo>
                  <a:lnTo>
                    <a:pt x="88" y="272"/>
                  </a:lnTo>
                  <a:lnTo>
                    <a:pt x="104" y="282"/>
                  </a:lnTo>
                  <a:lnTo>
                    <a:pt x="120" y="290"/>
                  </a:lnTo>
                  <a:lnTo>
                    <a:pt x="140" y="296"/>
                  </a:lnTo>
                  <a:lnTo>
                    <a:pt x="140" y="22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1DE5087-6F21-4BEC-9F03-6DAA0089D9EA}"/>
              </a:ext>
            </a:extLst>
          </p:cNvPr>
          <p:cNvGrpSpPr/>
          <p:nvPr/>
        </p:nvGrpSpPr>
        <p:grpSpPr>
          <a:xfrm>
            <a:off x="1014887" y="4693010"/>
            <a:ext cx="360000" cy="360000"/>
            <a:chOff x="589752" y="2258092"/>
            <a:chExt cx="612000" cy="612000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355E1310-F422-4D84-9F16-9987BDD145F3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7" name="Freeform 4804">
              <a:extLst>
                <a:ext uri="{FF2B5EF4-FFF2-40B4-BE49-F238E27FC236}">
                  <a16:creationId xmlns:a16="http://schemas.microsoft.com/office/drawing/2014/main" id="{39BC77BA-338C-46B8-89CF-6011ED49C010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C60C5830-8BDB-43CE-A8BC-3D4DA73A0FCE}"/>
              </a:ext>
            </a:extLst>
          </p:cNvPr>
          <p:cNvGrpSpPr/>
          <p:nvPr/>
        </p:nvGrpSpPr>
        <p:grpSpPr>
          <a:xfrm>
            <a:off x="1024767" y="2518809"/>
            <a:ext cx="360000" cy="360000"/>
            <a:chOff x="3216946" y="5907019"/>
            <a:chExt cx="612000" cy="612000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4F0F864A-D062-4816-BCF8-AD94895D4696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0" name="Freeform 4912">
              <a:extLst>
                <a:ext uri="{FF2B5EF4-FFF2-40B4-BE49-F238E27FC236}">
                  <a16:creationId xmlns:a16="http://schemas.microsoft.com/office/drawing/2014/main" id="{9E813342-418E-4BBF-9222-A1D82DB0E2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F5E8FDD-107F-4531-B200-76E387FA8650}"/>
              </a:ext>
            </a:extLst>
          </p:cNvPr>
          <p:cNvGrpSpPr/>
          <p:nvPr/>
        </p:nvGrpSpPr>
        <p:grpSpPr>
          <a:xfrm>
            <a:off x="1012879" y="3027761"/>
            <a:ext cx="360000" cy="360000"/>
            <a:chOff x="5841085" y="2258092"/>
            <a:chExt cx="612000" cy="612000"/>
          </a:xfrm>
        </p:grpSpPr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A92AB721-3550-4172-9DC3-9BD2FECA3BB1}"/>
                </a:ext>
              </a:extLst>
            </p:cNvPr>
            <p:cNvSpPr/>
            <p:nvPr/>
          </p:nvSpPr>
          <p:spPr bwMode="ltGray">
            <a:xfrm>
              <a:off x="5841085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3" name="Freeform 5015">
              <a:extLst>
                <a:ext uri="{FF2B5EF4-FFF2-40B4-BE49-F238E27FC236}">
                  <a16:creationId xmlns:a16="http://schemas.microsoft.com/office/drawing/2014/main" id="{56C61AA5-D79D-43A5-8A61-C79F54B0EF6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87786" y="2349133"/>
              <a:ext cx="309759" cy="438019"/>
            </a:xfrm>
            <a:custGeom>
              <a:avLst/>
              <a:gdLst>
                <a:gd name="T0" fmla="*/ 70 w 256"/>
                <a:gd name="T1" fmla="*/ 340 h 362"/>
                <a:gd name="T2" fmla="*/ 56 w 256"/>
                <a:gd name="T3" fmla="*/ 360 h 362"/>
                <a:gd name="T4" fmla="*/ 40 w 256"/>
                <a:gd name="T5" fmla="*/ 360 h 362"/>
                <a:gd name="T6" fmla="*/ 26 w 256"/>
                <a:gd name="T7" fmla="*/ 340 h 362"/>
                <a:gd name="T8" fmla="*/ 186 w 256"/>
                <a:gd name="T9" fmla="*/ 316 h 362"/>
                <a:gd name="T10" fmla="*/ 188 w 256"/>
                <a:gd name="T11" fmla="*/ 350 h 362"/>
                <a:gd name="T12" fmla="*/ 208 w 256"/>
                <a:gd name="T13" fmla="*/ 362 h 362"/>
                <a:gd name="T14" fmla="*/ 224 w 256"/>
                <a:gd name="T15" fmla="*/ 356 h 362"/>
                <a:gd name="T16" fmla="*/ 230 w 256"/>
                <a:gd name="T17" fmla="*/ 316 h 362"/>
                <a:gd name="T18" fmla="*/ 256 w 256"/>
                <a:gd name="T19" fmla="*/ 288 h 362"/>
                <a:gd name="T20" fmla="*/ 252 w 256"/>
                <a:gd name="T21" fmla="*/ 298 h 362"/>
                <a:gd name="T22" fmla="*/ 16 w 256"/>
                <a:gd name="T23" fmla="*/ 304 h 362"/>
                <a:gd name="T24" fmla="*/ 4 w 256"/>
                <a:gd name="T25" fmla="*/ 298 h 362"/>
                <a:gd name="T26" fmla="*/ 0 w 256"/>
                <a:gd name="T27" fmla="*/ 68 h 362"/>
                <a:gd name="T28" fmla="*/ 0 w 256"/>
                <a:gd name="T29" fmla="*/ 66 h 362"/>
                <a:gd name="T30" fmla="*/ 0 w 256"/>
                <a:gd name="T31" fmla="*/ 62 h 362"/>
                <a:gd name="T32" fmla="*/ 0 w 256"/>
                <a:gd name="T33" fmla="*/ 62 h 362"/>
                <a:gd name="T34" fmla="*/ 22 w 256"/>
                <a:gd name="T35" fmla="*/ 10 h 362"/>
                <a:gd name="T36" fmla="*/ 28 w 256"/>
                <a:gd name="T37" fmla="*/ 2 h 362"/>
                <a:gd name="T38" fmla="*/ 220 w 256"/>
                <a:gd name="T39" fmla="*/ 0 h 362"/>
                <a:gd name="T40" fmla="*/ 228 w 256"/>
                <a:gd name="T41" fmla="*/ 2 h 362"/>
                <a:gd name="T42" fmla="*/ 256 w 256"/>
                <a:gd name="T43" fmla="*/ 62 h 362"/>
                <a:gd name="T44" fmla="*/ 256 w 256"/>
                <a:gd name="T45" fmla="*/ 62 h 362"/>
                <a:gd name="T46" fmla="*/ 256 w 256"/>
                <a:gd name="T47" fmla="*/ 62 h 362"/>
                <a:gd name="T48" fmla="*/ 256 w 256"/>
                <a:gd name="T49" fmla="*/ 66 h 362"/>
                <a:gd name="T50" fmla="*/ 256 w 256"/>
                <a:gd name="T51" fmla="*/ 68 h 362"/>
                <a:gd name="T52" fmla="*/ 62 w 256"/>
                <a:gd name="T53" fmla="*/ 250 h 362"/>
                <a:gd name="T54" fmla="*/ 52 w 256"/>
                <a:gd name="T55" fmla="*/ 240 h 362"/>
                <a:gd name="T56" fmla="*/ 32 w 256"/>
                <a:gd name="T57" fmla="*/ 244 h 362"/>
                <a:gd name="T58" fmla="*/ 26 w 256"/>
                <a:gd name="T59" fmla="*/ 258 h 362"/>
                <a:gd name="T60" fmla="*/ 32 w 256"/>
                <a:gd name="T61" fmla="*/ 270 h 362"/>
                <a:gd name="T62" fmla="*/ 44 w 256"/>
                <a:gd name="T63" fmla="*/ 276 h 362"/>
                <a:gd name="T64" fmla="*/ 58 w 256"/>
                <a:gd name="T65" fmla="*/ 270 h 362"/>
                <a:gd name="T66" fmla="*/ 62 w 256"/>
                <a:gd name="T67" fmla="*/ 258 h 362"/>
                <a:gd name="T68" fmla="*/ 128 w 256"/>
                <a:gd name="T69" fmla="*/ 228 h 362"/>
                <a:gd name="T70" fmla="*/ 186 w 256"/>
                <a:gd name="T71" fmla="*/ 222 h 362"/>
                <a:gd name="T72" fmla="*/ 228 w 256"/>
                <a:gd name="T73" fmla="*/ 204 h 362"/>
                <a:gd name="T74" fmla="*/ 228 w 256"/>
                <a:gd name="T75" fmla="*/ 72 h 362"/>
                <a:gd name="T76" fmla="*/ 212 w 256"/>
                <a:gd name="T77" fmla="*/ 30 h 362"/>
                <a:gd name="T78" fmla="*/ 52 w 256"/>
                <a:gd name="T79" fmla="*/ 22 h 362"/>
                <a:gd name="T80" fmla="*/ 44 w 256"/>
                <a:gd name="T81" fmla="*/ 30 h 362"/>
                <a:gd name="T82" fmla="*/ 28 w 256"/>
                <a:gd name="T83" fmla="*/ 72 h 362"/>
                <a:gd name="T84" fmla="*/ 28 w 256"/>
                <a:gd name="T85" fmla="*/ 204 h 362"/>
                <a:gd name="T86" fmla="*/ 70 w 256"/>
                <a:gd name="T87" fmla="*/ 222 h 362"/>
                <a:gd name="T88" fmla="*/ 128 w 256"/>
                <a:gd name="T89" fmla="*/ 228 h 362"/>
                <a:gd name="T90" fmla="*/ 230 w 256"/>
                <a:gd name="T91" fmla="*/ 258 h 362"/>
                <a:gd name="T92" fmla="*/ 224 w 256"/>
                <a:gd name="T93" fmla="*/ 244 h 362"/>
                <a:gd name="T94" fmla="*/ 204 w 256"/>
                <a:gd name="T95" fmla="*/ 240 h 362"/>
                <a:gd name="T96" fmla="*/ 194 w 256"/>
                <a:gd name="T97" fmla="*/ 250 h 362"/>
                <a:gd name="T98" fmla="*/ 194 w 256"/>
                <a:gd name="T99" fmla="*/ 264 h 362"/>
                <a:gd name="T100" fmla="*/ 204 w 256"/>
                <a:gd name="T101" fmla="*/ 274 h 362"/>
                <a:gd name="T102" fmla="*/ 218 w 256"/>
                <a:gd name="T103" fmla="*/ 274 h 362"/>
                <a:gd name="T104" fmla="*/ 228 w 256"/>
                <a:gd name="T105" fmla="*/ 264 h 362"/>
                <a:gd name="T106" fmla="*/ 200 w 256"/>
                <a:gd name="T107" fmla="*/ 54 h 362"/>
                <a:gd name="T108" fmla="*/ 196 w 256"/>
                <a:gd name="T109" fmla="*/ 44 h 362"/>
                <a:gd name="T110" fmla="*/ 70 w 256"/>
                <a:gd name="T111" fmla="*/ 40 h 362"/>
                <a:gd name="T112" fmla="*/ 60 w 256"/>
                <a:gd name="T113" fmla="*/ 44 h 362"/>
                <a:gd name="T114" fmla="*/ 56 w 256"/>
                <a:gd name="T115" fmla="*/ 54 h 362"/>
                <a:gd name="T116" fmla="*/ 64 w 256"/>
                <a:gd name="T117" fmla="*/ 68 h 362"/>
                <a:gd name="T118" fmla="*/ 186 w 256"/>
                <a:gd name="T119" fmla="*/ 68 h 362"/>
                <a:gd name="T120" fmla="*/ 198 w 256"/>
                <a:gd name="T121" fmla="*/ 60 h 3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6" h="362">
                  <a:moveTo>
                    <a:pt x="70" y="316"/>
                  </a:moveTo>
                  <a:lnTo>
                    <a:pt x="70" y="340"/>
                  </a:lnTo>
                  <a:lnTo>
                    <a:pt x="70" y="340"/>
                  </a:lnTo>
                  <a:lnTo>
                    <a:pt x="68" y="350"/>
                  </a:lnTo>
                  <a:lnTo>
                    <a:pt x="64" y="356"/>
                  </a:lnTo>
                  <a:lnTo>
                    <a:pt x="56" y="360"/>
                  </a:lnTo>
                  <a:lnTo>
                    <a:pt x="48" y="362"/>
                  </a:lnTo>
                  <a:lnTo>
                    <a:pt x="48" y="362"/>
                  </a:lnTo>
                  <a:lnTo>
                    <a:pt x="40" y="360"/>
                  </a:lnTo>
                  <a:lnTo>
                    <a:pt x="32" y="356"/>
                  </a:lnTo>
                  <a:lnTo>
                    <a:pt x="28" y="350"/>
                  </a:lnTo>
                  <a:lnTo>
                    <a:pt x="26" y="340"/>
                  </a:lnTo>
                  <a:lnTo>
                    <a:pt x="26" y="316"/>
                  </a:lnTo>
                  <a:lnTo>
                    <a:pt x="70" y="316"/>
                  </a:lnTo>
                  <a:close/>
                  <a:moveTo>
                    <a:pt x="186" y="316"/>
                  </a:moveTo>
                  <a:lnTo>
                    <a:pt x="186" y="340"/>
                  </a:lnTo>
                  <a:lnTo>
                    <a:pt x="186" y="340"/>
                  </a:lnTo>
                  <a:lnTo>
                    <a:pt x="188" y="350"/>
                  </a:lnTo>
                  <a:lnTo>
                    <a:pt x="192" y="356"/>
                  </a:lnTo>
                  <a:lnTo>
                    <a:pt x="200" y="360"/>
                  </a:lnTo>
                  <a:lnTo>
                    <a:pt x="208" y="362"/>
                  </a:lnTo>
                  <a:lnTo>
                    <a:pt x="208" y="362"/>
                  </a:lnTo>
                  <a:lnTo>
                    <a:pt x="216" y="360"/>
                  </a:lnTo>
                  <a:lnTo>
                    <a:pt x="224" y="356"/>
                  </a:lnTo>
                  <a:lnTo>
                    <a:pt x="228" y="350"/>
                  </a:lnTo>
                  <a:lnTo>
                    <a:pt x="230" y="340"/>
                  </a:lnTo>
                  <a:lnTo>
                    <a:pt x="230" y="316"/>
                  </a:lnTo>
                  <a:lnTo>
                    <a:pt x="186" y="316"/>
                  </a:lnTo>
                  <a:close/>
                  <a:moveTo>
                    <a:pt x="256" y="68"/>
                  </a:moveTo>
                  <a:lnTo>
                    <a:pt x="256" y="288"/>
                  </a:lnTo>
                  <a:lnTo>
                    <a:pt x="256" y="288"/>
                  </a:lnTo>
                  <a:lnTo>
                    <a:pt x="256" y="294"/>
                  </a:lnTo>
                  <a:lnTo>
                    <a:pt x="252" y="298"/>
                  </a:lnTo>
                  <a:lnTo>
                    <a:pt x="246" y="302"/>
                  </a:lnTo>
                  <a:lnTo>
                    <a:pt x="240" y="304"/>
                  </a:lnTo>
                  <a:lnTo>
                    <a:pt x="16" y="304"/>
                  </a:lnTo>
                  <a:lnTo>
                    <a:pt x="16" y="304"/>
                  </a:lnTo>
                  <a:lnTo>
                    <a:pt x="10" y="302"/>
                  </a:lnTo>
                  <a:lnTo>
                    <a:pt x="4" y="298"/>
                  </a:lnTo>
                  <a:lnTo>
                    <a:pt x="0" y="294"/>
                  </a:lnTo>
                  <a:lnTo>
                    <a:pt x="0" y="28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4" y="6"/>
                  </a:lnTo>
                  <a:lnTo>
                    <a:pt x="28" y="2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220" y="0"/>
                  </a:lnTo>
                  <a:lnTo>
                    <a:pt x="220" y="0"/>
                  </a:lnTo>
                  <a:lnTo>
                    <a:pt x="224" y="0"/>
                  </a:lnTo>
                  <a:lnTo>
                    <a:pt x="228" y="2"/>
                  </a:lnTo>
                  <a:lnTo>
                    <a:pt x="232" y="6"/>
                  </a:lnTo>
                  <a:lnTo>
                    <a:pt x="234" y="10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2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6"/>
                  </a:lnTo>
                  <a:lnTo>
                    <a:pt x="256" y="68"/>
                  </a:lnTo>
                  <a:lnTo>
                    <a:pt x="256" y="68"/>
                  </a:lnTo>
                  <a:close/>
                  <a:moveTo>
                    <a:pt x="62" y="258"/>
                  </a:moveTo>
                  <a:lnTo>
                    <a:pt x="62" y="258"/>
                  </a:lnTo>
                  <a:lnTo>
                    <a:pt x="62" y="250"/>
                  </a:lnTo>
                  <a:lnTo>
                    <a:pt x="58" y="244"/>
                  </a:lnTo>
                  <a:lnTo>
                    <a:pt x="58" y="244"/>
                  </a:lnTo>
                  <a:lnTo>
                    <a:pt x="52" y="240"/>
                  </a:lnTo>
                  <a:lnTo>
                    <a:pt x="44" y="240"/>
                  </a:lnTo>
                  <a:lnTo>
                    <a:pt x="38" y="240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28" y="250"/>
                  </a:lnTo>
                  <a:lnTo>
                    <a:pt x="26" y="258"/>
                  </a:lnTo>
                  <a:lnTo>
                    <a:pt x="26" y="258"/>
                  </a:lnTo>
                  <a:lnTo>
                    <a:pt x="28" y="264"/>
                  </a:lnTo>
                  <a:lnTo>
                    <a:pt x="32" y="270"/>
                  </a:lnTo>
                  <a:lnTo>
                    <a:pt x="32" y="270"/>
                  </a:lnTo>
                  <a:lnTo>
                    <a:pt x="38" y="274"/>
                  </a:lnTo>
                  <a:lnTo>
                    <a:pt x="44" y="276"/>
                  </a:lnTo>
                  <a:lnTo>
                    <a:pt x="44" y="276"/>
                  </a:lnTo>
                  <a:lnTo>
                    <a:pt x="52" y="274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62" y="264"/>
                  </a:lnTo>
                  <a:lnTo>
                    <a:pt x="62" y="258"/>
                  </a:lnTo>
                  <a:lnTo>
                    <a:pt x="62" y="258"/>
                  </a:lnTo>
                  <a:close/>
                  <a:moveTo>
                    <a:pt x="128" y="228"/>
                  </a:moveTo>
                  <a:lnTo>
                    <a:pt x="128" y="228"/>
                  </a:lnTo>
                  <a:lnTo>
                    <a:pt x="148" y="228"/>
                  </a:lnTo>
                  <a:lnTo>
                    <a:pt x="168" y="226"/>
                  </a:lnTo>
                  <a:lnTo>
                    <a:pt x="186" y="222"/>
                  </a:lnTo>
                  <a:lnTo>
                    <a:pt x="200" y="216"/>
                  </a:lnTo>
                  <a:lnTo>
                    <a:pt x="220" y="208"/>
                  </a:lnTo>
                  <a:lnTo>
                    <a:pt x="228" y="204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2"/>
                  </a:lnTo>
                  <a:lnTo>
                    <a:pt x="228" y="70"/>
                  </a:lnTo>
                  <a:lnTo>
                    <a:pt x="212" y="30"/>
                  </a:lnTo>
                  <a:lnTo>
                    <a:pt x="212" y="30"/>
                  </a:lnTo>
                  <a:lnTo>
                    <a:pt x="210" y="24"/>
                  </a:lnTo>
                  <a:lnTo>
                    <a:pt x="204" y="22"/>
                  </a:lnTo>
                  <a:lnTo>
                    <a:pt x="52" y="22"/>
                  </a:lnTo>
                  <a:lnTo>
                    <a:pt x="52" y="22"/>
                  </a:lnTo>
                  <a:lnTo>
                    <a:pt x="46" y="24"/>
                  </a:lnTo>
                  <a:lnTo>
                    <a:pt x="44" y="30"/>
                  </a:lnTo>
                  <a:lnTo>
                    <a:pt x="28" y="70"/>
                  </a:lnTo>
                  <a:lnTo>
                    <a:pt x="28" y="70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204"/>
                  </a:lnTo>
                  <a:lnTo>
                    <a:pt x="28" y="204"/>
                  </a:lnTo>
                  <a:lnTo>
                    <a:pt x="36" y="208"/>
                  </a:lnTo>
                  <a:lnTo>
                    <a:pt x="56" y="216"/>
                  </a:lnTo>
                  <a:lnTo>
                    <a:pt x="70" y="222"/>
                  </a:lnTo>
                  <a:lnTo>
                    <a:pt x="88" y="226"/>
                  </a:lnTo>
                  <a:lnTo>
                    <a:pt x="108" y="228"/>
                  </a:lnTo>
                  <a:lnTo>
                    <a:pt x="128" y="228"/>
                  </a:lnTo>
                  <a:lnTo>
                    <a:pt x="128" y="228"/>
                  </a:lnTo>
                  <a:close/>
                  <a:moveTo>
                    <a:pt x="230" y="258"/>
                  </a:moveTo>
                  <a:lnTo>
                    <a:pt x="230" y="258"/>
                  </a:lnTo>
                  <a:lnTo>
                    <a:pt x="228" y="250"/>
                  </a:lnTo>
                  <a:lnTo>
                    <a:pt x="224" y="244"/>
                  </a:lnTo>
                  <a:lnTo>
                    <a:pt x="224" y="244"/>
                  </a:lnTo>
                  <a:lnTo>
                    <a:pt x="218" y="240"/>
                  </a:lnTo>
                  <a:lnTo>
                    <a:pt x="212" y="240"/>
                  </a:lnTo>
                  <a:lnTo>
                    <a:pt x="204" y="240"/>
                  </a:lnTo>
                  <a:lnTo>
                    <a:pt x="198" y="244"/>
                  </a:lnTo>
                  <a:lnTo>
                    <a:pt x="198" y="244"/>
                  </a:lnTo>
                  <a:lnTo>
                    <a:pt x="194" y="250"/>
                  </a:lnTo>
                  <a:lnTo>
                    <a:pt x="194" y="258"/>
                  </a:lnTo>
                  <a:lnTo>
                    <a:pt x="194" y="258"/>
                  </a:lnTo>
                  <a:lnTo>
                    <a:pt x="194" y="264"/>
                  </a:lnTo>
                  <a:lnTo>
                    <a:pt x="198" y="270"/>
                  </a:lnTo>
                  <a:lnTo>
                    <a:pt x="198" y="270"/>
                  </a:lnTo>
                  <a:lnTo>
                    <a:pt x="204" y="274"/>
                  </a:lnTo>
                  <a:lnTo>
                    <a:pt x="212" y="276"/>
                  </a:lnTo>
                  <a:lnTo>
                    <a:pt x="212" y="276"/>
                  </a:lnTo>
                  <a:lnTo>
                    <a:pt x="218" y="274"/>
                  </a:lnTo>
                  <a:lnTo>
                    <a:pt x="224" y="270"/>
                  </a:lnTo>
                  <a:lnTo>
                    <a:pt x="224" y="270"/>
                  </a:lnTo>
                  <a:lnTo>
                    <a:pt x="228" y="264"/>
                  </a:lnTo>
                  <a:lnTo>
                    <a:pt x="230" y="258"/>
                  </a:lnTo>
                  <a:lnTo>
                    <a:pt x="230" y="258"/>
                  </a:lnTo>
                  <a:close/>
                  <a:moveTo>
                    <a:pt x="200" y="54"/>
                  </a:moveTo>
                  <a:lnTo>
                    <a:pt x="200" y="54"/>
                  </a:lnTo>
                  <a:lnTo>
                    <a:pt x="198" y="48"/>
                  </a:lnTo>
                  <a:lnTo>
                    <a:pt x="196" y="44"/>
                  </a:lnTo>
                  <a:lnTo>
                    <a:pt x="192" y="42"/>
                  </a:lnTo>
                  <a:lnTo>
                    <a:pt x="186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4" y="42"/>
                  </a:lnTo>
                  <a:lnTo>
                    <a:pt x="60" y="44"/>
                  </a:lnTo>
                  <a:lnTo>
                    <a:pt x="58" y="48"/>
                  </a:lnTo>
                  <a:lnTo>
                    <a:pt x="56" y="54"/>
                  </a:lnTo>
                  <a:lnTo>
                    <a:pt x="56" y="54"/>
                  </a:lnTo>
                  <a:lnTo>
                    <a:pt x="58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70" y="68"/>
                  </a:lnTo>
                  <a:lnTo>
                    <a:pt x="186" y="68"/>
                  </a:lnTo>
                  <a:lnTo>
                    <a:pt x="186" y="68"/>
                  </a:lnTo>
                  <a:lnTo>
                    <a:pt x="192" y="68"/>
                  </a:lnTo>
                  <a:lnTo>
                    <a:pt x="196" y="64"/>
                  </a:lnTo>
                  <a:lnTo>
                    <a:pt x="198" y="60"/>
                  </a:lnTo>
                  <a:lnTo>
                    <a:pt x="200" y="54"/>
                  </a:lnTo>
                  <a:lnTo>
                    <a:pt x="200" y="5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5F48A79-90BC-40B0-87EF-09943A21A724}"/>
              </a:ext>
            </a:extLst>
          </p:cNvPr>
          <p:cNvGrpSpPr/>
          <p:nvPr/>
        </p:nvGrpSpPr>
        <p:grpSpPr>
          <a:xfrm>
            <a:off x="1012879" y="3534817"/>
            <a:ext cx="360000" cy="360000"/>
            <a:chOff x="7573215" y="5907019"/>
            <a:chExt cx="612000" cy="612000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B2A8A9CB-6832-4D64-AB80-9E2CC6B6C1A0}"/>
                </a:ext>
              </a:extLst>
            </p:cNvPr>
            <p:cNvSpPr/>
            <p:nvPr/>
          </p:nvSpPr>
          <p:spPr bwMode="ltGray">
            <a:xfrm>
              <a:off x="7573215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6" name="Freeform 4952">
              <a:extLst>
                <a:ext uri="{FF2B5EF4-FFF2-40B4-BE49-F238E27FC236}">
                  <a16:creationId xmlns:a16="http://schemas.microsoft.com/office/drawing/2014/main" id="{8E91FAE8-88B2-47E8-ABF3-F0138044FD8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58720" y="6043707"/>
              <a:ext cx="440990" cy="331954"/>
            </a:xfrm>
            <a:custGeom>
              <a:avLst/>
              <a:gdLst>
                <a:gd name="T0" fmla="*/ 332 w 364"/>
                <a:gd name="T1" fmla="*/ 64 h 274"/>
                <a:gd name="T2" fmla="*/ 286 w 364"/>
                <a:gd name="T3" fmla="*/ 8 h 274"/>
                <a:gd name="T4" fmla="*/ 264 w 364"/>
                <a:gd name="T5" fmla="*/ 2 h 274"/>
                <a:gd name="T6" fmla="*/ 182 w 364"/>
                <a:gd name="T7" fmla="*/ 0 h 274"/>
                <a:gd name="T8" fmla="*/ 86 w 364"/>
                <a:gd name="T9" fmla="*/ 4 h 274"/>
                <a:gd name="T10" fmla="*/ 66 w 364"/>
                <a:gd name="T11" fmla="*/ 18 h 274"/>
                <a:gd name="T12" fmla="*/ 32 w 364"/>
                <a:gd name="T13" fmla="*/ 64 h 274"/>
                <a:gd name="T14" fmla="*/ 8 w 364"/>
                <a:gd name="T15" fmla="*/ 110 h 274"/>
                <a:gd name="T16" fmla="*/ 0 w 364"/>
                <a:gd name="T17" fmla="*/ 172 h 274"/>
                <a:gd name="T18" fmla="*/ 6 w 364"/>
                <a:gd name="T19" fmla="*/ 228 h 274"/>
                <a:gd name="T20" fmla="*/ 10 w 364"/>
                <a:gd name="T21" fmla="*/ 262 h 274"/>
                <a:gd name="T22" fmla="*/ 18 w 364"/>
                <a:gd name="T23" fmla="*/ 274 h 274"/>
                <a:gd name="T24" fmla="*/ 54 w 364"/>
                <a:gd name="T25" fmla="*/ 274 h 274"/>
                <a:gd name="T26" fmla="*/ 60 w 364"/>
                <a:gd name="T27" fmla="*/ 238 h 274"/>
                <a:gd name="T28" fmla="*/ 304 w 364"/>
                <a:gd name="T29" fmla="*/ 262 h 274"/>
                <a:gd name="T30" fmla="*/ 316 w 364"/>
                <a:gd name="T31" fmla="*/ 274 h 274"/>
                <a:gd name="T32" fmla="*/ 350 w 364"/>
                <a:gd name="T33" fmla="*/ 270 h 274"/>
                <a:gd name="T34" fmla="*/ 354 w 364"/>
                <a:gd name="T35" fmla="*/ 236 h 274"/>
                <a:gd name="T36" fmla="*/ 362 w 364"/>
                <a:gd name="T37" fmla="*/ 212 h 274"/>
                <a:gd name="T38" fmla="*/ 364 w 364"/>
                <a:gd name="T39" fmla="*/ 152 h 274"/>
                <a:gd name="T40" fmla="*/ 348 w 364"/>
                <a:gd name="T41" fmla="*/ 90 h 274"/>
                <a:gd name="T42" fmla="*/ 86 w 364"/>
                <a:gd name="T43" fmla="*/ 18 h 274"/>
                <a:gd name="T44" fmla="*/ 182 w 364"/>
                <a:gd name="T45" fmla="*/ 14 h 274"/>
                <a:gd name="T46" fmla="*/ 278 w 364"/>
                <a:gd name="T47" fmla="*/ 18 h 274"/>
                <a:gd name="T48" fmla="*/ 304 w 364"/>
                <a:gd name="T49" fmla="*/ 56 h 274"/>
                <a:gd name="T50" fmla="*/ 290 w 364"/>
                <a:gd name="T51" fmla="*/ 62 h 274"/>
                <a:gd name="T52" fmla="*/ 74 w 364"/>
                <a:gd name="T53" fmla="*/ 62 h 274"/>
                <a:gd name="T54" fmla="*/ 60 w 364"/>
                <a:gd name="T55" fmla="*/ 56 h 274"/>
                <a:gd name="T56" fmla="*/ 86 w 364"/>
                <a:gd name="T57" fmla="*/ 18 h 274"/>
                <a:gd name="T58" fmla="*/ 194 w 364"/>
                <a:gd name="T59" fmla="*/ 120 h 274"/>
                <a:gd name="T60" fmla="*/ 174 w 364"/>
                <a:gd name="T61" fmla="*/ 122 h 274"/>
                <a:gd name="T62" fmla="*/ 170 w 364"/>
                <a:gd name="T63" fmla="*/ 116 h 274"/>
                <a:gd name="T64" fmla="*/ 190 w 364"/>
                <a:gd name="T65" fmla="*/ 114 h 274"/>
                <a:gd name="T66" fmla="*/ 50 w 364"/>
                <a:gd name="T67" fmla="*/ 126 h 274"/>
                <a:gd name="T68" fmla="*/ 22 w 364"/>
                <a:gd name="T69" fmla="*/ 112 h 274"/>
                <a:gd name="T70" fmla="*/ 32 w 364"/>
                <a:gd name="T71" fmla="*/ 94 h 274"/>
                <a:gd name="T72" fmla="*/ 64 w 364"/>
                <a:gd name="T73" fmla="*/ 94 h 274"/>
                <a:gd name="T74" fmla="*/ 82 w 364"/>
                <a:gd name="T75" fmla="*/ 112 h 274"/>
                <a:gd name="T76" fmla="*/ 50 w 364"/>
                <a:gd name="T77" fmla="*/ 126 h 274"/>
                <a:gd name="T78" fmla="*/ 242 w 364"/>
                <a:gd name="T79" fmla="*/ 220 h 274"/>
                <a:gd name="T80" fmla="*/ 98 w 364"/>
                <a:gd name="T81" fmla="*/ 218 h 274"/>
                <a:gd name="T82" fmla="*/ 76 w 364"/>
                <a:gd name="T83" fmla="*/ 202 h 274"/>
                <a:gd name="T84" fmla="*/ 144 w 364"/>
                <a:gd name="T85" fmla="*/ 198 h 274"/>
                <a:gd name="T86" fmla="*/ 254 w 364"/>
                <a:gd name="T87" fmla="*/ 198 h 274"/>
                <a:gd name="T88" fmla="*/ 282 w 364"/>
                <a:gd name="T89" fmla="*/ 210 h 274"/>
                <a:gd name="T90" fmla="*/ 182 w 364"/>
                <a:gd name="T91" fmla="*/ 184 h 274"/>
                <a:gd name="T92" fmla="*/ 56 w 364"/>
                <a:gd name="T93" fmla="*/ 178 h 274"/>
                <a:gd name="T94" fmla="*/ 66 w 364"/>
                <a:gd name="T95" fmla="*/ 150 h 274"/>
                <a:gd name="T96" fmla="*/ 100 w 364"/>
                <a:gd name="T97" fmla="*/ 130 h 274"/>
                <a:gd name="T98" fmla="*/ 254 w 364"/>
                <a:gd name="T99" fmla="*/ 130 h 274"/>
                <a:gd name="T100" fmla="*/ 282 w 364"/>
                <a:gd name="T101" fmla="*/ 138 h 274"/>
                <a:gd name="T102" fmla="*/ 306 w 364"/>
                <a:gd name="T103" fmla="*/ 168 h 274"/>
                <a:gd name="T104" fmla="*/ 240 w 364"/>
                <a:gd name="T105" fmla="*/ 184 h 274"/>
                <a:gd name="T106" fmla="*/ 314 w 364"/>
                <a:gd name="T107" fmla="*/ 126 h 274"/>
                <a:gd name="T108" fmla="*/ 282 w 364"/>
                <a:gd name="T109" fmla="*/ 112 h 274"/>
                <a:gd name="T110" fmla="*/ 300 w 364"/>
                <a:gd name="T111" fmla="*/ 94 h 274"/>
                <a:gd name="T112" fmla="*/ 332 w 364"/>
                <a:gd name="T113" fmla="*/ 94 h 274"/>
                <a:gd name="T114" fmla="*/ 342 w 364"/>
                <a:gd name="T115" fmla="*/ 112 h 274"/>
                <a:gd name="T116" fmla="*/ 314 w 364"/>
                <a:gd name="T117" fmla="*/ 126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4" h="274">
                  <a:moveTo>
                    <a:pt x="338" y="72"/>
                  </a:moveTo>
                  <a:lnTo>
                    <a:pt x="338" y="72"/>
                  </a:lnTo>
                  <a:lnTo>
                    <a:pt x="332" y="64"/>
                  </a:lnTo>
                  <a:lnTo>
                    <a:pt x="332" y="64"/>
                  </a:lnTo>
                  <a:lnTo>
                    <a:pt x="322" y="46"/>
                  </a:lnTo>
                  <a:lnTo>
                    <a:pt x="310" y="32"/>
                  </a:lnTo>
                  <a:lnTo>
                    <a:pt x="298" y="1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4" y="6"/>
                  </a:lnTo>
                  <a:lnTo>
                    <a:pt x="278" y="4"/>
                  </a:lnTo>
                  <a:lnTo>
                    <a:pt x="264" y="2"/>
                  </a:lnTo>
                  <a:lnTo>
                    <a:pt x="238" y="2"/>
                  </a:lnTo>
                  <a:lnTo>
                    <a:pt x="238" y="2"/>
                  </a:lnTo>
                  <a:lnTo>
                    <a:pt x="182" y="0"/>
                  </a:lnTo>
                  <a:lnTo>
                    <a:pt x="182" y="0"/>
                  </a:lnTo>
                  <a:lnTo>
                    <a:pt x="126" y="2"/>
                  </a:lnTo>
                  <a:lnTo>
                    <a:pt x="126" y="2"/>
                  </a:lnTo>
                  <a:lnTo>
                    <a:pt x="100" y="2"/>
                  </a:lnTo>
                  <a:lnTo>
                    <a:pt x="86" y="4"/>
                  </a:lnTo>
                  <a:lnTo>
                    <a:pt x="80" y="6"/>
                  </a:lnTo>
                  <a:lnTo>
                    <a:pt x="78" y="8"/>
                  </a:lnTo>
                  <a:lnTo>
                    <a:pt x="78" y="8"/>
                  </a:lnTo>
                  <a:lnTo>
                    <a:pt x="66" y="18"/>
                  </a:lnTo>
                  <a:lnTo>
                    <a:pt x="54" y="32"/>
                  </a:lnTo>
                  <a:lnTo>
                    <a:pt x="42" y="46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6" y="72"/>
                  </a:lnTo>
                  <a:lnTo>
                    <a:pt x="26" y="72"/>
                  </a:lnTo>
                  <a:lnTo>
                    <a:pt x="16" y="90"/>
                  </a:lnTo>
                  <a:lnTo>
                    <a:pt x="8" y="110"/>
                  </a:lnTo>
                  <a:lnTo>
                    <a:pt x="4" y="122"/>
                  </a:lnTo>
                  <a:lnTo>
                    <a:pt x="2" y="136"/>
                  </a:lnTo>
                  <a:lnTo>
                    <a:pt x="0" y="152"/>
                  </a:lnTo>
                  <a:lnTo>
                    <a:pt x="0" y="172"/>
                  </a:lnTo>
                  <a:lnTo>
                    <a:pt x="0" y="172"/>
                  </a:lnTo>
                  <a:lnTo>
                    <a:pt x="0" y="196"/>
                  </a:lnTo>
                  <a:lnTo>
                    <a:pt x="2" y="212"/>
                  </a:lnTo>
                  <a:lnTo>
                    <a:pt x="6" y="228"/>
                  </a:lnTo>
                  <a:lnTo>
                    <a:pt x="6" y="228"/>
                  </a:lnTo>
                  <a:lnTo>
                    <a:pt x="8" y="232"/>
                  </a:lnTo>
                  <a:lnTo>
                    <a:pt x="10" y="236"/>
                  </a:lnTo>
                  <a:lnTo>
                    <a:pt x="10" y="262"/>
                  </a:lnTo>
                  <a:lnTo>
                    <a:pt x="10" y="262"/>
                  </a:lnTo>
                  <a:lnTo>
                    <a:pt x="12" y="268"/>
                  </a:lnTo>
                  <a:lnTo>
                    <a:pt x="14" y="270"/>
                  </a:lnTo>
                  <a:lnTo>
                    <a:pt x="18" y="274"/>
                  </a:lnTo>
                  <a:lnTo>
                    <a:pt x="22" y="274"/>
                  </a:lnTo>
                  <a:lnTo>
                    <a:pt x="48" y="274"/>
                  </a:lnTo>
                  <a:lnTo>
                    <a:pt x="48" y="274"/>
                  </a:lnTo>
                  <a:lnTo>
                    <a:pt x="54" y="274"/>
                  </a:lnTo>
                  <a:lnTo>
                    <a:pt x="58" y="270"/>
                  </a:lnTo>
                  <a:lnTo>
                    <a:pt x="60" y="268"/>
                  </a:lnTo>
                  <a:lnTo>
                    <a:pt x="60" y="262"/>
                  </a:lnTo>
                  <a:lnTo>
                    <a:pt x="60" y="238"/>
                  </a:lnTo>
                  <a:lnTo>
                    <a:pt x="182" y="236"/>
                  </a:lnTo>
                  <a:lnTo>
                    <a:pt x="304" y="238"/>
                  </a:lnTo>
                  <a:lnTo>
                    <a:pt x="304" y="262"/>
                  </a:lnTo>
                  <a:lnTo>
                    <a:pt x="304" y="262"/>
                  </a:lnTo>
                  <a:lnTo>
                    <a:pt x="304" y="268"/>
                  </a:lnTo>
                  <a:lnTo>
                    <a:pt x="306" y="270"/>
                  </a:lnTo>
                  <a:lnTo>
                    <a:pt x="310" y="274"/>
                  </a:lnTo>
                  <a:lnTo>
                    <a:pt x="316" y="274"/>
                  </a:lnTo>
                  <a:lnTo>
                    <a:pt x="342" y="274"/>
                  </a:lnTo>
                  <a:lnTo>
                    <a:pt x="342" y="274"/>
                  </a:lnTo>
                  <a:lnTo>
                    <a:pt x="346" y="274"/>
                  </a:lnTo>
                  <a:lnTo>
                    <a:pt x="350" y="270"/>
                  </a:lnTo>
                  <a:lnTo>
                    <a:pt x="352" y="268"/>
                  </a:lnTo>
                  <a:lnTo>
                    <a:pt x="354" y="262"/>
                  </a:lnTo>
                  <a:lnTo>
                    <a:pt x="354" y="236"/>
                  </a:lnTo>
                  <a:lnTo>
                    <a:pt x="354" y="236"/>
                  </a:lnTo>
                  <a:lnTo>
                    <a:pt x="356" y="232"/>
                  </a:lnTo>
                  <a:lnTo>
                    <a:pt x="360" y="228"/>
                  </a:lnTo>
                  <a:lnTo>
                    <a:pt x="360" y="228"/>
                  </a:lnTo>
                  <a:lnTo>
                    <a:pt x="362" y="212"/>
                  </a:lnTo>
                  <a:lnTo>
                    <a:pt x="364" y="196"/>
                  </a:lnTo>
                  <a:lnTo>
                    <a:pt x="364" y="172"/>
                  </a:lnTo>
                  <a:lnTo>
                    <a:pt x="364" y="172"/>
                  </a:lnTo>
                  <a:lnTo>
                    <a:pt x="364" y="152"/>
                  </a:lnTo>
                  <a:lnTo>
                    <a:pt x="362" y="136"/>
                  </a:lnTo>
                  <a:lnTo>
                    <a:pt x="360" y="122"/>
                  </a:lnTo>
                  <a:lnTo>
                    <a:pt x="356" y="110"/>
                  </a:lnTo>
                  <a:lnTo>
                    <a:pt x="348" y="90"/>
                  </a:lnTo>
                  <a:lnTo>
                    <a:pt x="338" y="72"/>
                  </a:lnTo>
                  <a:lnTo>
                    <a:pt x="338" y="72"/>
                  </a:lnTo>
                  <a:close/>
                  <a:moveTo>
                    <a:pt x="86" y="18"/>
                  </a:moveTo>
                  <a:lnTo>
                    <a:pt x="86" y="18"/>
                  </a:lnTo>
                  <a:lnTo>
                    <a:pt x="112" y="16"/>
                  </a:lnTo>
                  <a:lnTo>
                    <a:pt x="142" y="14"/>
                  </a:lnTo>
                  <a:lnTo>
                    <a:pt x="182" y="14"/>
                  </a:lnTo>
                  <a:lnTo>
                    <a:pt x="182" y="14"/>
                  </a:lnTo>
                  <a:lnTo>
                    <a:pt x="222" y="14"/>
                  </a:lnTo>
                  <a:lnTo>
                    <a:pt x="252" y="16"/>
                  </a:lnTo>
                  <a:lnTo>
                    <a:pt x="278" y="18"/>
                  </a:lnTo>
                  <a:lnTo>
                    <a:pt x="278" y="18"/>
                  </a:lnTo>
                  <a:lnTo>
                    <a:pt x="292" y="34"/>
                  </a:lnTo>
                  <a:lnTo>
                    <a:pt x="302" y="48"/>
                  </a:lnTo>
                  <a:lnTo>
                    <a:pt x="304" y="52"/>
                  </a:lnTo>
                  <a:lnTo>
                    <a:pt x="304" y="56"/>
                  </a:lnTo>
                  <a:lnTo>
                    <a:pt x="304" y="56"/>
                  </a:lnTo>
                  <a:lnTo>
                    <a:pt x="304" y="58"/>
                  </a:lnTo>
                  <a:lnTo>
                    <a:pt x="302" y="60"/>
                  </a:lnTo>
                  <a:lnTo>
                    <a:pt x="290" y="62"/>
                  </a:lnTo>
                  <a:lnTo>
                    <a:pt x="182" y="62"/>
                  </a:lnTo>
                  <a:lnTo>
                    <a:pt x="182" y="62"/>
                  </a:lnTo>
                  <a:lnTo>
                    <a:pt x="74" y="62"/>
                  </a:lnTo>
                  <a:lnTo>
                    <a:pt x="74" y="62"/>
                  </a:lnTo>
                  <a:lnTo>
                    <a:pt x="62" y="60"/>
                  </a:lnTo>
                  <a:lnTo>
                    <a:pt x="60" y="58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2" y="48"/>
                  </a:lnTo>
                  <a:lnTo>
                    <a:pt x="72" y="34"/>
                  </a:lnTo>
                  <a:lnTo>
                    <a:pt x="86" y="18"/>
                  </a:lnTo>
                  <a:lnTo>
                    <a:pt x="86" y="18"/>
                  </a:lnTo>
                  <a:close/>
                  <a:moveTo>
                    <a:pt x="194" y="118"/>
                  </a:moveTo>
                  <a:lnTo>
                    <a:pt x="194" y="118"/>
                  </a:lnTo>
                  <a:lnTo>
                    <a:pt x="194" y="120"/>
                  </a:lnTo>
                  <a:lnTo>
                    <a:pt x="190" y="122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74" y="122"/>
                  </a:lnTo>
                  <a:lnTo>
                    <a:pt x="170" y="120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70" y="116"/>
                  </a:lnTo>
                  <a:lnTo>
                    <a:pt x="174" y="114"/>
                  </a:lnTo>
                  <a:lnTo>
                    <a:pt x="182" y="112"/>
                  </a:lnTo>
                  <a:lnTo>
                    <a:pt x="182" y="112"/>
                  </a:lnTo>
                  <a:lnTo>
                    <a:pt x="190" y="114"/>
                  </a:lnTo>
                  <a:lnTo>
                    <a:pt x="194" y="116"/>
                  </a:lnTo>
                  <a:lnTo>
                    <a:pt x="194" y="118"/>
                  </a:lnTo>
                  <a:lnTo>
                    <a:pt x="194" y="118"/>
                  </a:lnTo>
                  <a:close/>
                  <a:moveTo>
                    <a:pt x="50" y="126"/>
                  </a:moveTo>
                  <a:lnTo>
                    <a:pt x="50" y="126"/>
                  </a:lnTo>
                  <a:lnTo>
                    <a:pt x="38" y="124"/>
                  </a:lnTo>
                  <a:lnTo>
                    <a:pt x="28" y="120"/>
                  </a:lnTo>
                  <a:lnTo>
                    <a:pt x="22" y="112"/>
                  </a:lnTo>
                  <a:lnTo>
                    <a:pt x="22" y="106"/>
                  </a:lnTo>
                  <a:lnTo>
                    <a:pt x="22" y="106"/>
                  </a:lnTo>
                  <a:lnTo>
                    <a:pt x="24" y="100"/>
                  </a:lnTo>
                  <a:lnTo>
                    <a:pt x="32" y="94"/>
                  </a:lnTo>
                  <a:lnTo>
                    <a:pt x="4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64" y="94"/>
                  </a:lnTo>
                  <a:lnTo>
                    <a:pt x="74" y="98"/>
                  </a:lnTo>
                  <a:lnTo>
                    <a:pt x="80" y="104"/>
                  </a:lnTo>
                  <a:lnTo>
                    <a:pt x="82" y="112"/>
                  </a:lnTo>
                  <a:lnTo>
                    <a:pt x="82" y="112"/>
                  </a:lnTo>
                  <a:lnTo>
                    <a:pt x="78" y="118"/>
                  </a:lnTo>
                  <a:lnTo>
                    <a:pt x="72" y="124"/>
                  </a:lnTo>
                  <a:lnTo>
                    <a:pt x="62" y="126"/>
                  </a:lnTo>
                  <a:lnTo>
                    <a:pt x="50" y="126"/>
                  </a:lnTo>
                  <a:lnTo>
                    <a:pt x="50" y="126"/>
                  </a:lnTo>
                  <a:close/>
                  <a:moveTo>
                    <a:pt x="268" y="218"/>
                  </a:moveTo>
                  <a:lnTo>
                    <a:pt x="268" y="218"/>
                  </a:lnTo>
                  <a:lnTo>
                    <a:pt x="242" y="220"/>
                  </a:lnTo>
                  <a:lnTo>
                    <a:pt x="182" y="222"/>
                  </a:lnTo>
                  <a:lnTo>
                    <a:pt x="182" y="222"/>
                  </a:lnTo>
                  <a:lnTo>
                    <a:pt x="122" y="220"/>
                  </a:lnTo>
                  <a:lnTo>
                    <a:pt x="98" y="218"/>
                  </a:lnTo>
                  <a:lnTo>
                    <a:pt x="98" y="218"/>
                  </a:lnTo>
                  <a:lnTo>
                    <a:pt x="88" y="216"/>
                  </a:lnTo>
                  <a:lnTo>
                    <a:pt x="82" y="210"/>
                  </a:lnTo>
                  <a:lnTo>
                    <a:pt x="76" y="202"/>
                  </a:lnTo>
                  <a:lnTo>
                    <a:pt x="74" y="194"/>
                  </a:lnTo>
                  <a:lnTo>
                    <a:pt x="74" y="194"/>
                  </a:lnTo>
                  <a:lnTo>
                    <a:pt x="110" y="198"/>
                  </a:lnTo>
                  <a:lnTo>
                    <a:pt x="144" y="198"/>
                  </a:lnTo>
                  <a:lnTo>
                    <a:pt x="182" y="200"/>
                  </a:lnTo>
                  <a:lnTo>
                    <a:pt x="182" y="200"/>
                  </a:lnTo>
                  <a:lnTo>
                    <a:pt x="220" y="198"/>
                  </a:lnTo>
                  <a:lnTo>
                    <a:pt x="254" y="198"/>
                  </a:lnTo>
                  <a:lnTo>
                    <a:pt x="290" y="194"/>
                  </a:lnTo>
                  <a:lnTo>
                    <a:pt x="290" y="194"/>
                  </a:lnTo>
                  <a:lnTo>
                    <a:pt x="288" y="202"/>
                  </a:lnTo>
                  <a:lnTo>
                    <a:pt x="282" y="210"/>
                  </a:lnTo>
                  <a:lnTo>
                    <a:pt x="276" y="216"/>
                  </a:lnTo>
                  <a:lnTo>
                    <a:pt x="268" y="218"/>
                  </a:lnTo>
                  <a:lnTo>
                    <a:pt x="268" y="218"/>
                  </a:lnTo>
                  <a:close/>
                  <a:moveTo>
                    <a:pt x="182" y="184"/>
                  </a:moveTo>
                  <a:lnTo>
                    <a:pt x="182" y="184"/>
                  </a:lnTo>
                  <a:lnTo>
                    <a:pt x="124" y="184"/>
                  </a:lnTo>
                  <a:lnTo>
                    <a:pt x="86" y="180"/>
                  </a:lnTo>
                  <a:lnTo>
                    <a:pt x="56" y="178"/>
                  </a:lnTo>
                  <a:lnTo>
                    <a:pt x="56" y="178"/>
                  </a:lnTo>
                  <a:lnTo>
                    <a:pt x="58" y="168"/>
                  </a:lnTo>
                  <a:lnTo>
                    <a:pt x="62" y="160"/>
                  </a:lnTo>
                  <a:lnTo>
                    <a:pt x="66" y="150"/>
                  </a:lnTo>
                  <a:lnTo>
                    <a:pt x="74" y="144"/>
                  </a:lnTo>
                  <a:lnTo>
                    <a:pt x="82" y="138"/>
                  </a:lnTo>
                  <a:lnTo>
                    <a:pt x="90" y="134"/>
                  </a:lnTo>
                  <a:lnTo>
                    <a:pt x="100" y="130"/>
                  </a:lnTo>
                  <a:lnTo>
                    <a:pt x="110" y="130"/>
                  </a:lnTo>
                  <a:lnTo>
                    <a:pt x="126" y="130"/>
                  </a:lnTo>
                  <a:lnTo>
                    <a:pt x="238" y="130"/>
                  </a:lnTo>
                  <a:lnTo>
                    <a:pt x="254" y="130"/>
                  </a:lnTo>
                  <a:lnTo>
                    <a:pt x="254" y="130"/>
                  </a:lnTo>
                  <a:lnTo>
                    <a:pt x="264" y="130"/>
                  </a:lnTo>
                  <a:lnTo>
                    <a:pt x="274" y="134"/>
                  </a:lnTo>
                  <a:lnTo>
                    <a:pt x="282" y="138"/>
                  </a:lnTo>
                  <a:lnTo>
                    <a:pt x="290" y="144"/>
                  </a:lnTo>
                  <a:lnTo>
                    <a:pt x="298" y="150"/>
                  </a:lnTo>
                  <a:lnTo>
                    <a:pt x="302" y="160"/>
                  </a:lnTo>
                  <a:lnTo>
                    <a:pt x="306" y="168"/>
                  </a:lnTo>
                  <a:lnTo>
                    <a:pt x="308" y="178"/>
                  </a:lnTo>
                  <a:lnTo>
                    <a:pt x="308" y="178"/>
                  </a:lnTo>
                  <a:lnTo>
                    <a:pt x="278" y="180"/>
                  </a:lnTo>
                  <a:lnTo>
                    <a:pt x="240" y="184"/>
                  </a:lnTo>
                  <a:lnTo>
                    <a:pt x="182" y="184"/>
                  </a:lnTo>
                  <a:lnTo>
                    <a:pt x="182" y="184"/>
                  </a:lnTo>
                  <a:close/>
                  <a:moveTo>
                    <a:pt x="314" y="126"/>
                  </a:moveTo>
                  <a:lnTo>
                    <a:pt x="314" y="126"/>
                  </a:lnTo>
                  <a:lnTo>
                    <a:pt x="302" y="126"/>
                  </a:lnTo>
                  <a:lnTo>
                    <a:pt x="292" y="124"/>
                  </a:lnTo>
                  <a:lnTo>
                    <a:pt x="286" y="118"/>
                  </a:lnTo>
                  <a:lnTo>
                    <a:pt x="282" y="112"/>
                  </a:lnTo>
                  <a:lnTo>
                    <a:pt x="282" y="112"/>
                  </a:lnTo>
                  <a:lnTo>
                    <a:pt x="284" y="104"/>
                  </a:lnTo>
                  <a:lnTo>
                    <a:pt x="290" y="98"/>
                  </a:lnTo>
                  <a:lnTo>
                    <a:pt x="300" y="94"/>
                  </a:lnTo>
                  <a:lnTo>
                    <a:pt x="312" y="92"/>
                  </a:lnTo>
                  <a:lnTo>
                    <a:pt x="312" y="92"/>
                  </a:lnTo>
                  <a:lnTo>
                    <a:pt x="322" y="92"/>
                  </a:lnTo>
                  <a:lnTo>
                    <a:pt x="332" y="94"/>
                  </a:lnTo>
                  <a:lnTo>
                    <a:pt x="340" y="100"/>
                  </a:lnTo>
                  <a:lnTo>
                    <a:pt x="342" y="106"/>
                  </a:lnTo>
                  <a:lnTo>
                    <a:pt x="342" y="106"/>
                  </a:lnTo>
                  <a:lnTo>
                    <a:pt x="342" y="112"/>
                  </a:lnTo>
                  <a:lnTo>
                    <a:pt x="336" y="120"/>
                  </a:lnTo>
                  <a:lnTo>
                    <a:pt x="326" y="124"/>
                  </a:lnTo>
                  <a:lnTo>
                    <a:pt x="314" y="126"/>
                  </a:lnTo>
                  <a:lnTo>
                    <a:pt x="314" y="12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D4F4AF3-AF34-489A-87E0-5BA45DAEAC36}"/>
              </a:ext>
            </a:extLst>
          </p:cNvPr>
          <p:cNvGrpSpPr/>
          <p:nvPr/>
        </p:nvGrpSpPr>
        <p:grpSpPr>
          <a:xfrm>
            <a:off x="1022908" y="5190583"/>
            <a:ext cx="360000" cy="360000"/>
            <a:chOff x="589752" y="2258092"/>
            <a:chExt cx="612000" cy="612000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2F5AC70A-08F7-4D11-977C-FEDBE290BD3A}"/>
                </a:ext>
              </a:extLst>
            </p:cNvPr>
            <p:cNvSpPr/>
            <p:nvPr/>
          </p:nvSpPr>
          <p:spPr bwMode="ltGray">
            <a:xfrm>
              <a:off x="58975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4804">
              <a:extLst>
                <a:ext uri="{FF2B5EF4-FFF2-40B4-BE49-F238E27FC236}">
                  <a16:creationId xmlns:a16="http://schemas.microsoft.com/office/drawing/2014/main" id="{F3E891AD-B442-4784-9C6E-45D1F18AF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86314" y="2383746"/>
              <a:ext cx="418876" cy="421430"/>
            </a:xfrm>
            <a:custGeom>
              <a:avLst/>
              <a:gdLst>
                <a:gd name="T0" fmla="*/ 250 w 328"/>
                <a:gd name="T1" fmla="*/ 118 h 330"/>
                <a:gd name="T2" fmla="*/ 290 w 328"/>
                <a:gd name="T3" fmla="*/ 300 h 330"/>
                <a:gd name="T4" fmla="*/ 288 w 328"/>
                <a:gd name="T5" fmla="*/ 310 h 330"/>
                <a:gd name="T6" fmla="*/ 270 w 328"/>
                <a:gd name="T7" fmla="*/ 326 h 330"/>
                <a:gd name="T8" fmla="*/ 262 w 328"/>
                <a:gd name="T9" fmla="*/ 330 h 330"/>
                <a:gd name="T10" fmla="*/ 262 w 328"/>
                <a:gd name="T11" fmla="*/ 330 h 330"/>
                <a:gd name="T12" fmla="*/ 256 w 328"/>
                <a:gd name="T13" fmla="*/ 328 h 330"/>
                <a:gd name="T14" fmla="*/ 188 w 328"/>
                <a:gd name="T15" fmla="*/ 178 h 330"/>
                <a:gd name="T16" fmla="*/ 124 w 328"/>
                <a:gd name="T17" fmla="*/ 302 h 330"/>
                <a:gd name="T18" fmla="*/ 124 w 328"/>
                <a:gd name="T19" fmla="*/ 308 h 330"/>
                <a:gd name="T20" fmla="*/ 112 w 328"/>
                <a:gd name="T21" fmla="*/ 320 h 330"/>
                <a:gd name="T22" fmla="*/ 110 w 328"/>
                <a:gd name="T23" fmla="*/ 322 h 330"/>
                <a:gd name="T24" fmla="*/ 106 w 328"/>
                <a:gd name="T25" fmla="*/ 322 h 330"/>
                <a:gd name="T26" fmla="*/ 104 w 328"/>
                <a:gd name="T27" fmla="*/ 322 h 330"/>
                <a:gd name="T28" fmla="*/ 96 w 328"/>
                <a:gd name="T29" fmla="*/ 316 h 330"/>
                <a:gd name="T30" fmla="*/ 14 w 328"/>
                <a:gd name="T31" fmla="*/ 234 h 330"/>
                <a:gd name="T32" fmla="*/ 10 w 328"/>
                <a:gd name="T33" fmla="*/ 230 h 330"/>
                <a:gd name="T34" fmla="*/ 8 w 328"/>
                <a:gd name="T35" fmla="*/ 226 h 330"/>
                <a:gd name="T36" fmla="*/ 10 w 328"/>
                <a:gd name="T37" fmla="*/ 218 h 330"/>
                <a:gd name="T38" fmla="*/ 20 w 328"/>
                <a:gd name="T39" fmla="*/ 208 h 330"/>
                <a:gd name="T40" fmla="*/ 26 w 328"/>
                <a:gd name="T41" fmla="*/ 204 h 330"/>
                <a:gd name="T42" fmla="*/ 150 w 328"/>
                <a:gd name="T43" fmla="*/ 142 h 330"/>
                <a:gd name="T44" fmla="*/ 6 w 328"/>
                <a:gd name="T45" fmla="*/ 76 h 330"/>
                <a:gd name="T46" fmla="*/ 0 w 328"/>
                <a:gd name="T47" fmla="*/ 68 h 330"/>
                <a:gd name="T48" fmla="*/ 0 w 328"/>
                <a:gd name="T49" fmla="*/ 64 h 330"/>
                <a:gd name="T50" fmla="*/ 20 w 328"/>
                <a:gd name="T51" fmla="*/ 42 h 330"/>
                <a:gd name="T52" fmla="*/ 24 w 328"/>
                <a:gd name="T53" fmla="*/ 40 h 330"/>
                <a:gd name="T54" fmla="*/ 212 w 328"/>
                <a:gd name="T55" fmla="*/ 80 h 330"/>
                <a:gd name="T56" fmla="*/ 284 w 328"/>
                <a:gd name="T57" fmla="*/ 8 h 330"/>
                <a:gd name="T58" fmla="*/ 302 w 328"/>
                <a:gd name="T59" fmla="*/ 0 h 330"/>
                <a:gd name="T60" fmla="*/ 322 w 328"/>
                <a:gd name="T61" fmla="*/ 8 h 330"/>
                <a:gd name="T62" fmla="*/ 328 w 328"/>
                <a:gd name="T63" fmla="*/ 16 h 330"/>
                <a:gd name="T64" fmla="*/ 328 w 328"/>
                <a:gd name="T65" fmla="*/ 36 h 330"/>
                <a:gd name="T66" fmla="*/ 322 w 328"/>
                <a:gd name="T67" fmla="*/ 4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28" h="330">
                  <a:moveTo>
                    <a:pt x="322" y="46"/>
                  </a:moveTo>
                  <a:lnTo>
                    <a:pt x="250" y="118"/>
                  </a:lnTo>
                  <a:lnTo>
                    <a:pt x="290" y="300"/>
                  </a:lnTo>
                  <a:lnTo>
                    <a:pt x="290" y="300"/>
                  </a:lnTo>
                  <a:lnTo>
                    <a:pt x="290" y="304"/>
                  </a:lnTo>
                  <a:lnTo>
                    <a:pt x="288" y="310"/>
                  </a:lnTo>
                  <a:lnTo>
                    <a:pt x="270" y="326"/>
                  </a:lnTo>
                  <a:lnTo>
                    <a:pt x="270" y="326"/>
                  </a:lnTo>
                  <a:lnTo>
                    <a:pt x="266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62" y="330"/>
                  </a:lnTo>
                  <a:lnTo>
                    <a:pt x="256" y="328"/>
                  </a:lnTo>
                  <a:lnTo>
                    <a:pt x="254" y="324"/>
                  </a:lnTo>
                  <a:lnTo>
                    <a:pt x="188" y="178"/>
                  </a:lnTo>
                  <a:lnTo>
                    <a:pt x="122" y="246"/>
                  </a:lnTo>
                  <a:lnTo>
                    <a:pt x="124" y="302"/>
                  </a:lnTo>
                  <a:lnTo>
                    <a:pt x="124" y="302"/>
                  </a:lnTo>
                  <a:lnTo>
                    <a:pt x="124" y="308"/>
                  </a:lnTo>
                  <a:lnTo>
                    <a:pt x="122" y="310"/>
                  </a:lnTo>
                  <a:lnTo>
                    <a:pt x="112" y="320"/>
                  </a:lnTo>
                  <a:lnTo>
                    <a:pt x="112" y="320"/>
                  </a:lnTo>
                  <a:lnTo>
                    <a:pt x="110" y="322"/>
                  </a:lnTo>
                  <a:lnTo>
                    <a:pt x="106" y="322"/>
                  </a:lnTo>
                  <a:lnTo>
                    <a:pt x="106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98" y="320"/>
                  </a:lnTo>
                  <a:lnTo>
                    <a:pt x="96" y="316"/>
                  </a:lnTo>
                  <a:lnTo>
                    <a:pt x="74" y="256"/>
                  </a:lnTo>
                  <a:lnTo>
                    <a:pt x="14" y="234"/>
                  </a:lnTo>
                  <a:lnTo>
                    <a:pt x="14" y="234"/>
                  </a:lnTo>
                  <a:lnTo>
                    <a:pt x="10" y="230"/>
                  </a:lnTo>
                  <a:lnTo>
                    <a:pt x="8" y="226"/>
                  </a:lnTo>
                  <a:lnTo>
                    <a:pt x="8" y="226"/>
                  </a:lnTo>
                  <a:lnTo>
                    <a:pt x="8" y="222"/>
                  </a:lnTo>
                  <a:lnTo>
                    <a:pt x="10" y="218"/>
                  </a:lnTo>
                  <a:lnTo>
                    <a:pt x="20" y="208"/>
                  </a:lnTo>
                  <a:lnTo>
                    <a:pt x="20" y="208"/>
                  </a:lnTo>
                  <a:lnTo>
                    <a:pt x="22" y="206"/>
                  </a:lnTo>
                  <a:lnTo>
                    <a:pt x="26" y="204"/>
                  </a:lnTo>
                  <a:lnTo>
                    <a:pt x="84" y="208"/>
                  </a:lnTo>
                  <a:lnTo>
                    <a:pt x="150" y="142"/>
                  </a:lnTo>
                  <a:lnTo>
                    <a:pt x="6" y="76"/>
                  </a:lnTo>
                  <a:lnTo>
                    <a:pt x="6" y="76"/>
                  </a:lnTo>
                  <a:lnTo>
                    <a:pt x="2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2" y="60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4" y="40"/>
                  </a:lnTo>
                  <a:lnTo>
                    <a:pt x="30" y="40"/>
                  </a:lnTo>
                  <a:lnTo>
                    <a:pt x="212" y="80"/>
                  </a:lnTo>
                  <a:lnTo>
                    <a:pt x="284" y="8"/>
                  </a:lnTo>
                  <a:lnTo>
                    <a:pt x="284" y="8"/>
                  </a:lnTo>
                  <a:lnTo>
                    <a:pt x="294" y="2"/>
                  </a:lnTo>
                  <a:lnTo>
                    <a:pt x="302" y="0"/>
                  </a:lnTo>
                  <a:lnTo>
                    <a:pt x="312" y="2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8" y="16"/>
                  </a:lnTo>
                  <a:lnTo>
                    <a:pt x="328" y="26"/>
                  </a:lnTo>
                  <a:lnTo>
                    <a:pt x="328" y="36"/>
                  </a:lnTo>
                  <a:lnTo>
                    <a:pt x="322" y="46"/>
                  </a:lnTo>
                  <a:lnTo>
                    <a:pt x="32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420B863A-F329-48B9-8BC0-E09D33E5B1E1}"/>
              </a:ext>
            </a:extLst>
          </p:cNvPr>
          <p:cNvGrpSpPr/>
          <p:nvPr/>
        </p:nvGrpSpPr>
        <p:grpSpPr>
          <a:xfrm>
            <a:off x="1019033" y="5691915"/>
            <a:ext cx="360000" cy="360000"/>
            <a:chOff x="4966372" y="3474401"/>
            <a:chExt cx="612000" cy="6120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4E071229-5E7E-4B43-9D3C-635E22704CDF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2" name="Freeform 5002">
              <a:extLst>
                <a:ext uri="{FF2B5EF4-FFF2-40B4-BE49-F238E27FC236}">
                  <a16:creationId xmlns:a16="http://schemas.microsoft.com/office/drawing/2014/main" id="{A0E2CF9D-6216-47BC-A00C-538BBB766A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F2989524-7F7E-4425-8509-E3DEB6CE2C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1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917935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έτρα οικονομικής στήριξης των επιχειρήσεων του τουρισμού</a:t>
            </a:r>
          </a:p>
        </p:txBody>
      </p:sp>
      <p:sp>
        <p:nvSpPr>
          <p:cNvPr id="17" name="Rectangle: Diagonal Corners Snipped 16">
            <a:extLst>
              <a:ext uri="{FF2B5EF4-FFF2-40B4-BE49-F238E27FC236}">
                <a16:creationId xmlns:a16="http://schemas.microsoft.com/office/drawing/2014/main" id="{A4C68F67-D996-40F2-AF4B-6D87D0360A8B}"/>
              </a:ext>
            </a:extLst>
          </p:cNvPr>
          <p:cNvSpPr/>
          <p:nvPr/>
        </p:nvSpPr>
        <p:spPr>
          <a:xfrm>
            <a:off x="1364440" y="1451113"/>
            <a:ext cx="9707751" cy="4886957"/>
          </a:xfrm>
          <a:prstGeom prst="snip2DiagRect">
            <a:avLst/>
          </a:prstGeom>
          <a:solidFill>
            <a:srgbClr val="BDDAD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6E539C0-1401-4CA8-B887-86512101BEFB}"/>
              </a:ext>
            </a:extLst>
          </p:cNvPr>
          <p:cNvSpPr/>
          <p:nvPr/>
        </p:nvSpPr>
        <p:spPr>
          <a:xfrm>
            <a:off x="1662088" y="1817099"/>
            <a:ext cx="890320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πέκταση </a:t>
            </a:r>
            <a:r>
              <a:rPr lang="el-GR" sz="2000" b="1" dirty="0"/>
              <a:t>δικαιώματος αναστολής σύμβασης εργασίας  </a:t>
            </a:r>
            <a:r>
              <a:rPr lang="el-GR" sz="2000" u="sng" dirty="0"/>
              <a:t>έως και τον Ιούλ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ενοικίου </a:t>
            </a:r>
            <a:r>
              <a:rPr lang="el-GR" sz="2000" dirty="0"/>
              <a:t>επιχειρήσεων 40% </a:t>
            </a:r>
            <a:r>
              <a:rPr lang="el-GR" sz="2000" u="sng" dirty="0"/>
              <a:t>έως και τον Αύγουσ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Νέος μηχανισμός ενίσχυσης απασχόλησης «</a:t>
            </a:r>
            <a:r>
              <a:rPr lang="en-US" sz="2000" b="1" dirty="0"/>
              <a:t>SURE</a:t>
            </a:r>
            <a:r>
              <a:rPr lang="el-GR" sz="2000" dirty="0"/>
              <a:t>» μέχρι και τον Σεπτέμβρι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dirty="0"/>
              <a:t>Ενίσχυση των </a:t>
            </a:r>
            <a:r>
              <a:rPr lang="el-GR" sz="2000" b="1" dirty="0"/>
              <a:t>εποχιακά απασχολούμενων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Επιστρεπτέα προκαταβολή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προκαταβολής φόρου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Μείωση ΦΠΑ </a:t>
            </a:r>
            <a:r>
              <a:rPr lang="el-GR" sz="2000" dirty="0"/>
              <a:t>στις μεταφορές, τον καφέ, τα μη-αλκοολούχα ποτά και το τουριστικό πακέτο</a:t>
            </a:r>
          </a:p>
          <a:p>
            <a:pPr marL="536575" indent="-536575">
              <a:spcBef>
                <a:spcPts val="600"/>
              </a:spcBef>
              <a:spcAft>
                <a:spcPts val="600"/>
              </a:spcAft>
              <a:buSzPct val="150000"/>
              <a:buFont typeface="Wingdings" panose="05000000000000000000" pitchFamily="2" charset="2"/>
              <a:buChar char="ü"/>
            </a:pPr>
            <a:r>
              <a:rPr lang="el-GR" sz="2000" b="1" dirty="0"/>
              <a:t>ΤΕΠΙΧ ΙΙ </a:t>
            </a:r>
            <a:r>
              <a:rPr lang="el-GR" sz="2000" dirty="0"/>
              <a:t>Επιχειρηματική Χρηματοδότηση / </a:t>
            </a:r>
            <a:r>
              <a:rPr lang="el-GR" sz="2000" b="1" dirty="0"/>
              <a:t>Ταμείο Εγγυοδοσίας </a:t>
            </a:r>
            <a:r>
              <a:rPr lang="el-GR" sz="2000" dirty="0"/>
              <a:t>Αναπτυξιακή Τράπεζα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8A0A8A1-7A4A-4FD5-BB91-7B0DC7EA69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2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9134095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8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εσωτερικού τουρισμού</a:t>
            </a: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82B8766-216B-468E-AE32-8B5B4408FF9E}"/>
              </a:ext>
            </a:extLst>
          </p:cNvPr>
          <p:cNvSpPr/>
          <p:nvPr/>
        </p:nvSpPr>
        <p:spPr>
          <a:xfrm>
            <a:off x="809426" y="1558457"/>
            <a:ext cx="5286574" cy="4414096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E760132-9982-452E-998D-61B03E8399A1}"/>
              </a:ext>
            </a:extLst>
          </p:cNvPr>
          <p:cNvSpPr/>
          <p:nvPr/>
        </p:nvSpPr>
        <p:spPr>
          <a:xfrm>
            <a:off x="929321" y="3061223"/>
            <a:ext cx="5166679" cy="25237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Διαφημιστική καμπάνι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«Τουρισμός για Όλους»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Πρόγραμμα Κοινωνικού Τουρισμού (ΟΑΕΔ)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2000" dirty="0">
                <a:solidFill>
                  <a:schemeClr val="bg1"/>
                </a:solidFill>
              </a:rPr>
              <a:t>Εταιρικά </a:t>
            </a:r>
            <a:r>
              <a:rPr lang="en-US" sz="2000" dirty="0">
                <a:solidFill>
                  <a:schemeClr val="bg1"/>
                </a:solidFill>
              </a:rPr>
              <a:t>Holiday Vouchers </a:t>
            </a:r>
            <a:r>
              <a:rPr lang="el-GR" sz="2000" dirty="0">
                <a:solidFill>
                  <a:schemeClr val="bg1"/>
                </a:solidFill>
              </a:rPr>
              <a:t>για τους εργαζόμενους του ιδιωτικού τομέα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l-GR" dirty="0">
              <a:solidFill>
                <a:schemeClr val="bg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9A13503B-065E-4277-9A5A-26B2FF48A990}"/>
              </a:ext>
            </a:extLst>
          </p:cNvPr>
          <p:cNvSpPr/>
          <p:nvPr/>
        </p:nvSpPr>
        <p:spPr>
          <a:xfrm>
            <a:off x="1994208" y="2037532"/>
            <a:ext cx="24929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el-GR" b="1" dirty="0">
                <a:solidFill>
                  <a:schemeClr val="bg1"/>
                </a:solidFill>
              </a:rPr>
              <a:t>Εσωτερικός Τουρισμός</a:t>
            </a:r>
          </a:p>
        </p:txBody>
      </p:sp>
      <p:sp>
        <p:nvSpPr>
          <p:cNvPr id="37" name="Rectangle: Diagonal Corners Snipped 38">
            <a:extLst>
              <a:ext uri="{FF2B5EF4-FFF2-40B4-BE49-F238E27FC236}">
                <a16:creationId xmlns:a16="http://schemas.microsoft.com/office/drawing/2014/main" id="{AB0B5A9E-5C26-4D58-8C3A-A8CCAA6DCAD2}"/>
              </a:ext>
            </a:extLst>
          </p:cNvPr>
          <p:cNvSpPr/>
          <p:nvPr/>
        </p:nvSpPr>
        <p:spPr>
          <a:xfrm>
            <a:off x="6792946" y="1558457"/>
            <a:ext cx="4469733" cy="4414096"/>
          </a:xfrm>
          <a:prstGeom prst="rect">
            <a:avLst/>
          </a:prstGeom>
          <a:solidFill>
            <a:schemeClr val="bg1"/>
          </a:solidFill>
          <a:ln w="9525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355600" indent="-171450"/>
            <a:r>
              <a:rPr lang="el-GR" b="1" dirty="0"/>
              <a:t>Πρόγραμμα «Τουρισμός για Όλους»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Στό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ρευστότητας κλάδου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Ενίσχυση απασχόληση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Τόνωση της ζήτησης</a:t>
            </a:r>
          </a:p>
          <a:p>
            <a:pPr marL="355600" indent="-171450">
              <a:spcBef>
                <a:spcPts val="1200"/>
              </a:spcBef>
            </a:pPr>
            <a:r>
              <a:rPr lang="el-GR" sz="1600" b="1" dirty="0"/>
              <a:t>Πλαίσιο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30 εκατ. €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Κατ’ ελάχιστο 4 διανυκτερεύσεις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Αφορά ξενοδοχεία και ταξιδιωτικά γραφεία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250.000 δικαιούχοι</a:t>
            </a:r>
          </a:p>
          <a:p>
            <a:pPr marL="355600" indent="-171450">
              <a:buFont typeface="Arial" panose="020B0604020202020204" pitchFamily="34" charset="0"/>
              <a:buChar char="•"/>
            </a:pPr>
            <a:r>
              <a:rPr lang="el-GR" sz="1600" dirty="0"/>
              <a:t>1 εκατ. διανυκτερεύσεις κατ’ ελάχιστο</a:t>
            </a:r>
          </a:p>
          <a:p>
            <a:endParaRPr lang="el-GR" sz="1400" dirty="0">
              <a:sym typeface="Georgia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853AACF-E62C-4551-88EA-55CD209C9A53}"/>
              </a:ext>
            </a:extLst>
          </p:cNvPr>
          <p:cNvGrpSpPr/>
          <p:nvPr/>
        </p:nvGrpSpPr>
        <p:grpSpPr>
          <a:xfrm>
            <a:off x="1098795" y="1916198"/>
            <a:ext cx="612000" cy="612000"/>
            <a:chOff x="4966372" y="3474401"/>
            <a:chExt cx="612000" cy="612000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0D223A22-FFCD-47A5-A3D2-7D13B6D1860B}"/>
                </a:ext>
              </a:extLst>
            </p:cNvPr>
            <p:cNvSpPr/>
            <p:nvPr/>
          </p:nvSpPr>
          <p:spPr bwMode="ltGray">
            <a:xfrm>
              <a:off x="4966372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0" name="Freeform 5002">
              <a:extLst>
                <a:ext uri="{FF2B5EF4-FFF2-40B4-BE49-F238E27FC236}">
                  <a16:creationId xmlns:a16="http://schemas.microsoft.com/office/drawing/2014/main" id="{DDD3746D-AE8C-4797-A371-A32076C86C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83464" y="3596641"/>
              <a:ext cx="387199" cy="333959"/>
            </a:xfrm>
            <a:custGeom>
              <a:avLst/>
              <a:gdLst>
                <a:gd name="T0" fmla="*/ 112 w 320"/>
                <a:gd name="T1" fmla="*/ 50 h 276"/>
                <a:gd name="T2" fmla="*/ 112 w 320"/>
                <a:gd name="T3" fmla="*/ 22 h 276"/>
                <a:gd name="T4" fmla="*/ 116 w 320"/>
                <a:gd name="T5" fmla="*/ 14 h 276"/>
                <a:gd name="T6" fmla="*/ 130 w 320"/>
                <a:gd name="T7" fmla="*/ 6 h 276"/>
                <a:gd name="T8" fmla="*/ 160 w 320"/>
                <a:gd name="T9" fmla="*/ 0 h 276"/>
                <a:gd name="T10" fmla="*/ 176 w 320"/>
                <a:gd name="T11" fmla="*/ 2 h 276"/>
                <a:gd name="T12" fmla="*/ 204 w 320"/>
                <a:gd name="T13" fmla="*/ 14 h 276"/>
                <a:gd name="T14" fmla="*/ 208 w 320"/>
                <a:gd name="T15" fmla="*/ 16 h 276"/>
                <a:gd name="T16" fmla="*/ 208 w 320"/>
                <a:gd name="T17" fmla="*/ 50 h 276"/>
                <a:gd name="T18" fmla="*/ 188 w 320"/>
                <a:gd name="T19" fmla="*/ 28 h 276"/>
                <a:gd name="T20" fmla="*/ 176 w 320"/>
                <a:gd name="T21" fmla="*/ 24 h 276"/>
                <a:gd name="T22" fmla="*/ 160 w 320"/>
                <a:gd name="T23" fmla="*/ 20 h 276"/>
                <a:gd name="T24" fmla="*/ 152 w 320"/>
                <a:gd name="T25" fmla="*/ 22 h 276"/>
                <a:gd name="T26" fmla="*/ 132 w 320"/>
                <a:gd name="T27" fmla="*/ 28 h 276"/>
                <a:gd name="T28" fmla="*/ 252 w 320"/>
                <a:gd name="T29" fmla="*/ 50 h 276"/>
                <a:gd name="T30" fmla="*/ 276 w 320"/>
                <a:gd name="T31" fmla="*/ 50 h 276"/>
                <a:gd name="T32" fmla="*/ 282 w 320"/>
                <a:gd name="T33" fmla="*/ 48 h 276"/>
                <a:gd name="T34" fmla="*/ 284 w 320"/>
                <a:gd name="T35" fmla="*/ 42 h 276"/>
                <a:gd name="T36" fmla="*/ 284 w 320"/>
                <a:gd name="T37" fmla="*/ 40 h 276"/>
                <a:gd name="T38" fmla="*/ 280 w 320"/>
                <a:gd name="T39" fmla="*/ 34 h 276"/>
                <a:gd name="T40" fmla="*/ 252 w 320"/>
                <a:gd name="T41" fmla="*/ 34 h 276"/>
                <a:gd name="T42" fmla="*/ 248 w 320"/>
                <a:gd name="T43" fmla="*/ 34 h 276"/>
                <a:gd name="T44" fmla="*/ 244 w 320"/>
                <a:gd name="T45" fmla="*/ 40 h 276"/>
                <a:gd name="T46" fmla="*/ 244 w 320"/>
                <a:gd name="T47" fmla="*/ 42 h 276"/>
                <a:gd name="T48" fmla="*/ 246 w 320"/>
                <a:gd name="T49" fmla="*/ 48 h 276"/>
                <a:gd name="T50" fmla="*/ 252 w 320"/>
                <a:gd name="T51" fmla="*/ 50 h 276"/>
                <a:gd name="T52" fmla="*/ 44 w 320"/>
                <a:gd name="T53" fmla="*/ 50 h 276"/>
                <a:gd name="T54" fmla="*/ 68 w 320"/>
                <a:gd name="T55" fmla="*/ 50 h 276"/>
                <a:gd name="T56" fmla="*/ 74 w 320"/>
                <a:gd name="T57" fmla="*/ 48 h 276"/>
                <a:gd name="T58" fmla="*/ 76 w 320"/>
                <a:gd name="T59" fmla="*/ 42 h 276"/>
                <a:gd name="T60" fmla="*/ 76 w 320"/>
                <a:gd name="T61" fmla="*/ 40 h 276"/>
                <a:gd name="T62" fmla="*/ 72 w 320"/>
                <a:gd name="T63" fmla="*/ 34 h 276"/>
                <a:gd name="T64" fmla="*/ 44 w 320"/>
                <a:gd name="T65" fmla="*/ 34 h 276"/>
                <a:gd name="T66" fmla="*/ 40 w 320"/>
                <a:gd name="T67" fmla="*/ 34 h 276"/>
                <a:gd name="T68" fmla="*/ 36 w 320"/>
                <a:gd name="T69" fmla="*/ 40 h 276"/>
                <a:gd name="T70" fmla="*/ 36 w 320"/>
                <a:gd name="T71" fmla="*/ 42 h 276"/>
                <a:gd name="T72" fmla="*/ 38 w 320"/>
                <a:gd name="T73" fmla="*/ 48 h 276"/>
                <a:gd name="T74" fmla="*/ 44 w 320"/>
                <a:gd name="T75" fmla="*/ 50 h 276"/>
                <a:gd name="T76" fmla="*/ 68 w 320"/>
                <a:gd name="T77" fmla="*/ 276 h 276"/>
                <a:gd name="T78" fmla="*/ 252 w 320"/>
                <a:gd name="T79" fmla="*/ 62 h 276"/>
                <a:gd name="T80" fmla="*/ 68 w 320"/>
                <a:gd name="T81" fmla="*/ 276 h 276"/>
                <a:gd name="T82" fmla="*/ 276 w 320"/>
                <a:gd name="T83" fmla="*/ 62 h 276"/>
                <a:gd name="T84" fmla="*/ 296 w 320"/>
                <a:gd name="T85" fmla="*/ 276 h 276"/>
                <a:gd name="T86" fmla="*/ 306 w 320"/>
                <a:gd name="T87" fmla="*/ 274 h 276"/>
                <a:gd name="T88" fmla="*/ 318 w 320"/>
                <a:gd name="T89" fmla="*/ 262 h 276"/>
                <a:gd name="T90" fmla="*/ 320 w 320"/>
                <a:gd name="T91" fmla="*/ 86 h 276"/>
                <a:gd name="T92" fmla="*/ 318 w 320"/>
                <a:gd name="T93" fmla="*/ 76 h 276"/>
                <a:gd name="T94" fmla="*/ 306 w 320"/>
                <a:gd name="T95" fmla="*/ 64 h 276"/>
                <a:gd name="T96" fmla="*/ 296 w 320"/>
                <a:gd name="T97" fmla="*/ 62 h 276"/>
                <a:gd name="T98" fmla="*/ 0 w 320"/>
                <a:gd name="T99" fmla="*/ 252 h 276"/>
                <a:gd name="T100" fmla="*/ 2 w 320"/>
                <a:gd name="T101" fmla="*/ 262 h 276"/>
                <a:gd name="T102" fmla="*/ 14 w 320"/>
                <a:gd name="T103" fmla="*/ 274 h 276"/>
                <a:gd name="T104" fmla="*/ 44 w 320"/>
                <a:gd name="T105" fmla="*/ 276 h 276"/>
                <a:gd name="T106" fmla="*/ 24 w 320"/>
                <a:gd name="T107" fmla="*/ 62 h 276"/>
                <a:gd name="T108" fmla="*/ 14 w 320"/>
                <a:gd name="T109" fmla="*/ 64 h 276"/>
                <a:gd name="T110" fmla="*/ 2 w 320"/>
                <a:gd name="T111" fmla="*/ 76 h 276"/>
                <a:gd name="T112" fmla="*/ 0 w 320"/>
                <a:gd name="T113" fmla="*/ 86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20" h="276">
                  <a:moveTo>
                    <a:pt x="132" y="50"/>
                  </a:moveTo>
                  <a:lnTo>
                    <a:pt x="112" y="50"/>
                  </a:lnTo>
                  <a:lnTo>
                    <a:pt x="112" y="22"/>
                  </a:lnTo>
                  <a:lnTo>
                    <a:pt x="112" y="22"/>
                  </a:lnTo>
                  <a:lnTo>
                    <a:pt x="112" y="16"/>
                  </a:lnTo>
                  <a:lnTo>
                    <a:pt x="116" y="14"/>
                  </a:lnTo>
                  <a:lnTo>
                    <a:pt x="116" y="14"/>
                  </a:lnTo>
                  <a:lnTo>
                    <a:pt x="130" y="6"/>
                  </a:lnTo>
                  <a:lnTo>
                    <a:pt x="144" y="2"/>
                  </a:lnTo>
                  <a:lnTo>
                    <a:pt x="160" y="0"/>
                  </a:lnTo>
                  <a:lnTo>
                    <a:pt x="160" y="0"/>
                  </a:lnTo>
                  <a:lnTo>
                    <a:pt x="176" y="2"/>
                  </a:lnTo>
                  <a:lnTo>
                    <a:pt x="190" y="6"/>
                  </a:lnTo>
                  <a:lnTo>
                    <a:pt x="204" y="14"/>
                  </a:lnTo>
                  <a:lnTo>
                    <a:pt x="204" y="14"/>
                  </a:lnTo>
                  <a:lnTo>
                    <a:pt x="208" y="16"/>
                  </a:lnTo>
                  <a:lnTo>
                    <a:pt x="208" y="22"/>
                  </a:lnTo>
                  <a:lnTo>
                    <a:pt x="208" y="50"/>
                  </a:lnTo>
                  <a:lnTo>
                    <a:pt x="188" y="50"/>
                  </a:lnTo>
                  <a:lnTo>
                    <a:pt x="188" y="28"/>
                  </a:lnTo>
                  <a:lnTo>
                    <a:pt x="188" y="28"/>
                  </a:lnTo>
                  <a:lnTo>
                    <a:pt x="176" y="24"/>
                  </a:lnTo>
                  <a:lnTo>
                    <a:pt x="168" y="22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52" y="22"/>
                  </a:lnTo>
                  <a:lnTo>
                    <a:pt x="144" y="24"/>
                  </a:lnTo>
                  <a:lnTo>
                    <a:pt x="132" y="28"/>
                  </a:lnTo>
                  <a:lnTo>
                    <a:pt x="132" y="50"/>
                  </a:lnTo>
                  <a:close/>
                  <a:moveTo>
                    <a:pt x="252" y="50"/>
                  </a:moveTo>
                  <a:lnTo>
                    <a:pt x="276" y="50"/>
                  </a:lnTo>
                  <a:lnTo>
                    <a:pt x="276" y="50"/>
                  </a:lnTo>
                  <a:lnTo>
                    <a:pt x="280" y="50"/>
                  </a:lnTo>
                  <a:lnTo>
                    <a:pt x="282" y="48"/>
                  </a:lnTo>
                  <a:lnTo>
                    <a:pt x="284" y="46"/>
                  </a:lnTo>
                  <a:lnTo>
                    <a:pt x="284" y="42"/>
                  </a:lnTo>
                  <a:lnTo>
                    <a:pt x="284" y="42"/>
                  </a:lnTo>
                  <a:lnTo>
                    <a:pt x="284" y="40"/>
                  </a:lnTo>
                  <a:lnTo>
                    <a:pt x="282" y="36"/>
                  </a:lnTo>
                  <a:lnTo>
                    <a:pt x="280" y="34"/>
                  </a:lnTo>
                  <a:lnTo>
                    <a:pt x="276" y="34"/>
                  </a:lnTo>
                  <a:lnTo>
                    <a:pt x="252" y="34"/>
                  </a:lnTo>
                  <a:lnTo>
                    <a:pt x="252" y="34"/>
                  </a:lnTo>
                  <a:lnTo>
                    <a:pt x="248" y="34"/>
                  </a:lnTo>
                  <a:lnTo>
                    <a:pt x="246" y="36"/>
                  </a:lnTo>
                  <a:lnTo>
                    <a:pt x="244" y="40"/>
                  </a:lnTo>
                  <a:lnTo>
                    <a:pt x="244" y="42"/>
                  </a:lnTo>
                  <a:lnTo>
                    <a:pt x="244" y="42"/>
                  </a:lnTo>
                  <a:lnTo>
                    <a:pt x="244" y="46"/>
                  </a:lnTo>
                  <a:lnTo>
                    <a:pt x="246" y="48"/>
                  </a:lnTo>
                  <a:lnTo>
                    <a:pt x="248" y="50"/>
                  </a:lnTo>
                  <a:lnTo>
                    <a:pt x="252" y="50"/>
                  </a:lnTo>
                  <a:lnTo>
                    <a:pt x="252" y="50"/>
                  </a:lnTo>
                  <a:close/>
                  <a:moveTo>
                    <a:pt x="44" y="50"/>
                  </a:moveTo>
                  <a:lnTo>
                    <a:pt x="68" y="50"/>
                  </a:lnTo>
                  <a:lnTo>
                    <a:pt x="68" y="50"/>
                  </a:lnTo>
                  <a:lnTo>
                    <a:pt x="72" y="50"/>
                  </a:lnTo>
                  <a:lnTo>
                    <a:pt x="74" y="48"/>
                  </a:lnTo>
                  <a:lnTo>
                    <a:pt x="76" y="46"/>
                  </a:lnTo>
                  <a:lnTo>
                    <a:pt x="76" y="42"/>
                  </a:lnTo>
                  <a:lnTo>
                    <a:pt x="76" y="42"/>
                  </a:lnTo>
                  <a:lnTo>
                    <a:pt x="76" y="40"/>
                  </a:lnTo>
                  <a:lnTo>
                    <a:pt x="74" y="36"/>
                  </a:lnTo>
                  <a:lnTo>
                    <a:pt x="72" y="34"/>
                  </a:lnTo>
                  <a:lnTo>
                    <a:pt x="68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0" y="34"/>
                  </a:lnTo>
                  <a:lnTo>
                    <a:pt x="38" y="36"/>
                  </a:lnTo>
                  <a:lnTo>
                    <a:pt x="36" y="40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6"/>
                  </a:lnTo>
                  <a:lnTo>
                    <a:pt x="38" y="48"/>
                  </a:lnTo>
                  <a:lnTo>
                    <a:pt x="40" y="50"/>
                  </a:lnTo>
                  <a:lnTo>
                    <a:pt x="44" y="50"/>
                  </a:lnTo>
                  <a:lnTo>
                    <a:pt x="44" y="50"/>
                  </a:lnTo>
                  <a:close/>
                  <a:moveTo>
                    <a:pt x="68" y="276"/>
                  </a:moveTo>
                  <a:lnTo>
                    <a:pt x="252" y="276"/>
                  </a:lnTo>
                  <a:lnTo>
                    <a:pt x="252" y="62"/>
                  </a:lnTo>
                  <a:lnTo>
                    <a:pt x="68" y="62"/>
                  </a:lnTo>
                  <a:lnTo>
                    <a:pt x="68" y="276"/>
                  </a:lnTo>
                  <a:close/>
                  <a:moveTo>
                    <a:pt x="296" y="62"/>
                  </a:moveTo>
                  <a:lnTo>
                    <a:pt x="276" y="62"/>
                  </a:lnTo>
                  <a:lnTo>
                    <a:pt x="276" y="276"/>
                  </a:lnTo>
                  <a:lnTo>
                    <a:pt x="296" y="276"/>
                  </a:lnTo>
                  <a:lnTo>
                    <a:pt x="296" y="276"/>
                  </a:lnTo>
                  <a:lnTo>
                    <a:pt x="306" y="274"/>
                  </a:lnTo>
                  <a:lnTo>
                    <a:pt x="312" y="270"/>
                  </a:lnTo>
                  <a:lnTo>
                    <a:pt x="318" y="262"/>
                  </a:lnTo>
                  <a:lnTo>
                    <a:pt x="320" y="252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18" y="76"/>
                  </a:lnTo>
                  <a:lnTo>
                    <a:pt x="312" y="70"/>
                  </a:lnTo>
                  <a:lnTo>
                    <a:pt x="306" y="64"/>
                  </a:lnTo>
                  <a:lnTo>
                    <a:pt x="296" y="62"/>
                  </a:lnTo>
                  <a:lnTo>
                    <a:pt x="296" y="62"/>
                  </a:lnTo>
                  <a:close/>
                  <a:moveTo>
                    <a:pt x="0" y="86"/>
                  </a:moveTo>
                  <a:lnTo>
                    <a:pt x="0" y="252"/>
                  </a:lnTo>
                  <a:lnTo>
                    <a:pt x="0" y="252"/>
                  </a:lnTo>
                  <a:lnTo>
                    <a:pt x="2" y="262"/>
                  </a:lnTo>
                  <a:lnTo>
                    <a:pt x="8" y="270"/>
                  </a:lnTo>
                  <a:lnTo>
                    <a:pt x="14" y="274"/>
                  </a:lnTo>
                  <a:lnTo>
                    <a:pt x="24" y="276"/>
                  </a:lnTo>
                  <a:lnTo>
                    <a:pt x="44" y="276"/>
                  </a:lnTo>
                  <a:lnTo>
                    <a:pt x="44" y="62"/>
                  </a:lnTo>
                  <a:lnTo>
                    <a:pt x="24" y="62"/>
                  </a:lnTo>
                  <a:lnTo>
                    <a:pt x="24" y="62"/>
                  </a:lnTo>
                  <a:lnTo>
                    <a:pt x="14" y="64"/>
                  </a:lnTo>
                  <a:lnTo>
                    <a:pt x="8" y="70"/>
                  </a:lnTo>
                  <a:lnTo>
                    <a:pt x="2" y="76"/>
                  </a:lnTo>
                  <a:lnTo>
                    <a:pt x="0" y="86"/>
                  </a:lnTo>
                  <a:lnTo>
                    <a:pt x="0" y="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5D9C3A64-8B8F-4FCD-9F6E-35FC29CEFF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3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55350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3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Ενίσχυση του αισθήματος ασφάλειας των τουριστών (Ελλήνων &amp; ξένων)</a:t>
            </a:r>
          </a:p>
        </p:txBody>
      </p:sp>
      <p:sp>
        <p:nvSpPr>
          <p:cNvPr id="43" name="Rectangle: Diagonal Corners Snipped 42">
            <a:extLst>
              <a:ext uri="{FF2B5EF4-FFF2-40B4-BE49-F238E27FC236}">
                <a16:creationId xmlns:a16="http://schemas.microsoft.com/office/drawing/2014/main" id="{94F622F8-B4EF-42F2-A596-C6CFE78804A0}"/>
              </a:ext>
            </a:extLst>
          </p:cNvPr>
          <p:cNvSpPr/>
          <p:nvPr/>
        </p:nvSpPr>
        <p:spPr>
          <a:xfrm>
            <a:off x="549543" y="1716995"/>
            <a:ext cx="3397454" cy="4695249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4" name="Rectangle: Diagonal Corners Snipped 43">
            <a:extLst>
              <a:ext uri="{FF2B5EF4-FFF2-40B4-BE49-F238E27FC236}">
                <a16:creationId xmlns:a16="http://schemas.microsoft.com/office/drawing/2014/main" id="{C8B0CC65-4A76-4033-848F-1DB691867F6D}"/>
              </a:ext>
            </a:extLst>
          </p:cNvPr>
          <p:cNvSpPr/>
          <p:nvPr/>
        </p:nvSpPr>
        <p:spPr>
          <a:xfrm>
            <a:off x="4306872" y="1711068"/>
            <a:ext cx="3487682" cy="4695249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0861D3F2-5E28-490B-A197-BCF37C43C1DB}"/>
              </a:ext>
            </a:extLst>
          </p:cNvPr>
          <p:cNvSpPr/>
          <p:nvPr/>
        </p:nvSpPr>
        <p:spPr>
          <a:xfrm>
            <a:off x="669438" y="3313163"/>
            <a:ext cx="3199917" cy="2816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Χρήση του </a:t>
            </a:r>
            <a:r>
              <a:rPr lang="el-GR" b="1" dirty="0" err="1">
                <a:solidFill>
                  <a:schemeClr val="bg1"/>
                </a:solidFill>
              </a:rPr>
              <a:t>Visit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Greece</a:t>
            </a:r>
            <a:r>
              <a:rPr lang="el-GR" b="1" dirty="0">
                <a:solidFill>
                  <a:schemeClr val="bg1"/>
                </a:solidFill>
              </a:rPr>
              <a:t> </a:t>
            </a:r>
            <a:r>
              <a:rPr lang="el-GR" b="1" dirty="0" err="1">
                <a:solidFill>
                  <a:schemeClr val="bg1"/>
                </a:solidFill>
              </a:rPr>
              <a:t>app</a:t>
            </a:r>
            <a:r>
              <a:rPr lang="el-GR" b="1" dirty="0">
                <a:solidFill>
                  <a:schemeClr val="bg1"/>
                </a:solidFill>
              </a:rPr>
              <a:t>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νάρτηση σχετικού υλικού στα </a:t>
            </a:r>
            <a:r>
              <a:rPr lang="el-GR" dirty="0" err="1">
                <a:solidFill>
                  <a:schemeClr val="bg1"/>
                </a:solidFill>
              </a:rPr>
              <a:t>sites</a:t>
            </a:r>
            <a:r>
              <a:rPr lang="el-GR" dirty="0">
                <a:solidFill>
                  <a:schemeClr val="bg1"/>
                </a:solidFill>
              </a:rPr>
              <a:t> των τουριστικών </a:t>
            </a:r>
            <a:r>
              <a:rPr lang="el-GR" dirty="0" err="1">
                <a:solidFill>
                  <a:schemeClr val="bg1"/>
                </a:solidFill>
              </a:rPr>
              <a:t>παρόχων</a:t>
            </a:r>
            <a:r>
              <a:rPr lang="el-GR" dirty="0">
                <a:solidFill>
                  <a:schemeClr val="bg1"/>
                </a:solidFill>
              </a:rPr>
              <a:t> &amp; των φορέων τουρισμού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Ενημερωτικό υλικό </a:t>
            </a:r>
            <a:r>
              <a:rPr lang="el-GR" dirty="0">
                <a:solidFill>
                  <a:schemeClr val="bg1"/>
                </a:solidFill>
              </a:rPr>
              <a:t>στον χώρο (αφίσες, </a:t>
            </a:r>
            <a:r>
              <a:rPr lang="el-GR" dirty="0" err="1">
                <a:solidFill>
                  <a:schemeClr val="bg1"/>
                </a:solidFill>
              </a:rPr>
              <a:t>banner</a:t>
            </a:r>
            <a:r>
              <a:rPr lang="el-GR" dirty="0">
                <a:solidFill>
                  <a:schemeClr val="bg1"/>
                </a:solidFill>
              </a:rPr>
              <a:t>, </a:t>
            </a:r>
            <a:r>
              <a:rPr lang="el-GR" dirty="0" err="1">
                <a:solidFill>
                  <a:schemeClr val="bg1"/>
                </a:solidFill>
              </a:rPr>
              <a:t>κλπ</a:t>
            </a:r>
            <a:r>
              <a:rPr lang="el-GR" dirty="0">
                <a:solidFill>
                  <a:schemeClr val="bg1"/>
                </a:solidFill>
              </a:rPr>
              <a:t>)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</a:rPr>
              <a:t>Καμπάνια δημοσιότητας </a:t>
            </a:r>
            <a:r>
              <a:rPr lang="el-GR" dirty="0">
                <a:solidFill>
                  <a:schemeClr val="bg1"/>
                </a:solidFill>
              </a:rPr>
              <a:t>στα τοπικά &amp; διεθνή ΜΜΕ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9E4D9BB2-2CDE-496F-91F9-126C6101CB4F}"/>
              </a:ext>
            </a:extLst>
          </p:cNvPr>
          <p:cNvSpPr/>
          <p:nvPr/>
        </p:nvSpPr>
        <p:spPr>
          <a:xfrm>
            <a:off x="5247512" y="1931062"/>
            <a:ext cx="247332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/>
              <a:t>Εμπέδωση αισθήματος ασφαλείας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DDC1939-208E-4097-8514-A8B4F09D5A30}"/>
              </a:ext>
            </a:extLst>
          </p:cNvPr>
          <p:cNvSpPr/>
          <p:nvPr/>
        </p:nvSpPr>
        <p:spPr>
          <a:xfrm>
            <a:off x="4395294" y="3313163"/>
            <a:ext cx="3397454" cy="30931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ντατικοί </a:t>
            </a:r>
            <a:r>
              <a:rPr lang="el-GR" b="1" dirty="0"/>
              <a:t>έλεγχοι υγειονομικής νομιμότητας </a:t>
            </a:r>
            <a:r>
              <a:rPr lang="el-GR" dirty="0"/>
              <a:t>από κλιμάκια του Υπουργείου Τουρισμού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/>
              <a:t>Ειδικό Σήμα «</a:t>
            </a:r>
            <a:r>
              <a:rPr lang="el-GR" b="1" dirty="0"/>
              <a:t>Health First</a:t>
            </a:r>
            <a:r>
              <a:rPr lang="el-GR" dirty="0"/>
              <a:t>» σε όλους τους τουριστικούς </a:t>
            </a:r>
            <a:r>
              <a:rPr lang="el-GR" dirty="0" err="1"/>
              <a:t>παρόχους</a:t>
            </a:r>
            <a:endParaRPr lang="el-GR" dirty="0"/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Δυνατότητα πιστοποίησης </a:t>
            </a:r>
            <a:r>
              <a:rPr lang="el-GR" dirty="0"/>
              <a:t>από τρίτους - ιδιωτικό φορέα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l-GR" dirty="0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E8423D13-F565-4CF4-8F8A-97BBF2D1692F}"/>
              </a:ext>
            </a:extLst>
          </p:cNvPr>
          <p:cNvSpPr/>
          <p:nvPr/>
        </p:nvSpPr>
        <p:spPr>
          <a:xfrm>
            <a:off x="1528533" y="1931062"/>
            <a:ext cx="257337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</a:rPr>
              <a:t>Ενημέρωση για τα υγειονομικά πρωτόκολλα 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5E97A2CE-7478-4B7A-A018-966F0A8FC025}"/>
              </a:ext>
            </a:extLst>
          </p:cNvPr>
          <p:cNvGrpSpPr/>
          <p:nvPr/>
        </p:nvGrpSpPr>
        <p:grpSpPr>
          <a:xfrm>
            <a:off x="4564607" y="1917449"/>
            <a:ext cx="583359" cy="612000"/>
            <a:chOff x="7573215" y="3474401"/>
            <a:chExt cx="612000" cy="612000"/>
          </a:xfrm>
        </p:grpSpPr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B9FA9B0E-8351-434A-BF39-7C1A7D29AD0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1" name="Freeform 4969">
              <a:extLst>
                <a:ext uri="{FF2B5EF4-FFF2-40B4-BE49-F238E27FC236}">
                  <a16:creationId xmlns:a16="http://schemas.microsoft.com/office/drawing/2014/main" id="{EA52F2AA-71B4-436E-93E5-1571D3FA20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76983" y="3553401"/>
              <a:ext cx="469776" cy="424003"/>
            </a:xfrm>
            <a:custGeom>
              <a:avLst/>
              <a:gdLst>
                <a:gd name="T0" fmla="*/ 374 w 390"/>
                <a:gd name="T1" fmla="*/ 118 h 352"/>
                <a:gd name="T2" fmla="*/ 388 w 390"/>
                <a:gd name="T3" fmla="*/ 174 h 352"/>
                <a:gd name="T4" fmla="*/ 388 w 390"/>
                <a:gd name="T5" fmla="*/ 218 h 352"/>
                <a:gd name="T6" fmla="*/ 370 w 390"/>
                <a:gd name="T7" fmla="*/ 282 h 352"/>
                <a:gd name="T8" fmla="*/ 332 w 390"/>
                <a:gd name="T9" fmla="*/ 336 h 352"/>
                <a:gd name="T10" fmla="*/ 270 w 390"/>
                <a:gd name="T11" fmla="*/ 352 h 352"/>
                <a:gd name="T12" fmla="*/ 292 w 390"/>
                <a:gd name="T13" fmla="*/ 314 h 352"/>
                <a:gd name="T14" fmla="*/ 304 w 390"/>
                <a:gd name="T15" fmla="*/ 268 h 352"/>
                <a:gd name="T16" fmla="*/ 306 w 390"/>
                <a:gd name="T17" fmla="*/ 236 h 352"/>
                <a:gd name="T18" fmla="*/ 300 w 390"/>
                <a:gd name="T19" fmla="*/ 186 h 352"/>
                <a:gd name="T20" fmla="*/ 284 w 390"/>
                <a:gd name="T21" fmla="*/ 144 h 352"/>
                <a:gd name="T22" fmla="*/ 270 w 390"/>
                <a:gd name="T23" fmla="*/ 118 h 352"/>
                <a:gd name="T24" fmla="*/ 266 w 390"/>
                <a:gd name="T25" fmla="*/ 310 h 352"/>
                <a:gd name="T26" fmla="*/ 282 w 390"/>
                <a:gd name="T27" fmla="*/ 254 h 352"/>
                <a:gd name="T28" fmla="*/ 282 w 390"/>
                <a:gd name="T29" fmla="*/ 214 h 352"/>
                <a:gd name="T30" fmla="*/ 264 w 390"/>
                <a:gd name="T31" fmla="*/ 156 h 352"/>
                <a:gd name="T32" fmla="*/ 216 w 390"/>
                <a:gd name="T33" fmla="*/ 146 h 352"/>
                <a:gd name="T34" fmla="*/ 174 w 390"/>
                <a:gd name="T35" fmla="*/ 104 h 352"/>
                <a:gd name="T36" fmla="*/ 150 w 390"/>
                <a:gd name="T37" fmla="*/ 48 h 352"/>
                <a:gd name="T38" fmla="*/ 146 w 390"/>
                <a:gd name="T39" fmla="*/ 22 h 352"/>
                <a:gd name="T40" fmla="*/ 128 w 390"/>
                <a:gd name="T41" fmla="*/ 2 h 352"/>
                <a:gd name="T42" fmla="*/ 116 w 390"/>
                <a:gd name="T43" fmla="*/ 0 h 352"/>
                <a:gd name="T44" fmla="*/ 96 w 390"/>
                <a:gd name="T45" fmla="*/ 10 h 352"/>
                <a:gd name="T46" fmla="*/ 88 w 390"/>
                <a:gd name="T47" fmla="*/ 32 h 352"/>
                <a:gd name="T48" fmla="*/ 96 w 390"/>
                <a:gd name="T49" fmla="*/ 80 h 352"/>
                <a:gd name="T50" fmla="*/ 114 w 390"/>
                <a:gd name="T51" fmla="*/ 124 h 352"/>
                <a:gd name="T52" fmla="*/ 114 w 390"/>
                <a:gd name="T53" fmla="*/ 130 h 352"/>
                <a:gd name="T54" fmla="*/ 102 w 390"/>
                <a:gd name="T55" fmla="*/ 144 h 352"/>
                <a:gd name="T56" fmla="*/ 16 w 390"/>
                <a:gd name="T57" fmla="*/ 146 h 352"/>
                <a:gd name="T58" fmla="*/ 0 w 390"/>
                <a:gd name="T59" fmla="*/ 170 h 352"/>
                <a:gd name="T60" fmla="*/ 8 w 390"/>
                <a:gd name="T61" fmla="*/ 190 h 352"/>
                <a:gd name="T62" fmla="*/ 24 w 390"/>
                <a:gd name="T63" fmla="*/ 198 h 352"/>
                <a:gd name="T64" fmla="*/ 2 w 390"/>
                <a:gd name="T65" fmla="*/ 214 h 352"/>
                <a:gd name="T66" fmla="*/ 2 w 390"/>
                <a:gd name="T67" fmla="*/ 236 h 352"/>
                <a:gd name="T68" fmla="*/ 26 w 390"/>
                <a:gd name="T69" fmla="*/ 252 h 352"/>
                <a:gd name="T70" fmla="*/ 20 w 390"/>
                <a:gd name="T71" fmla="*/ 256 h 352"/>
                <a:gd name="T72" fmla="*/ 6 w 390"/>
                <a:gd name="T73" fmla="*/ 280 h 352"/>
                <a:gd name="T74" fmla="*/ 14 w 390"/>
                <a:gd name="T75" fmla="*/ 298 h 352"/>
                <a:gd name="T76" fmla="*/ 44 w 390"/>
                <a:gd name="T77" fmla="*/ 306 h 352"/>
                <a:gd name="T78" fmla="*/ 34 w 390"/>
                <a:gd name="T79" fmla="*/ 320 h 352"/>
                <a:gd name="T80" fmla="*/ 36 w 390"/>
                <a:gd name="T81" fmla="*/ 334 h 352"/>
                <a:gd name="T82" fmla="*/ 58 w 390"/>
                <a:gd name="T83" fmla="*/ 350 h 352"/>
                <a:gd name="T84" fmla="*/ 144 w 390"/>
                <a:gd name="T85" fmla="*/ 350 h 352"/>
                <a:gd name="T86" fmla="*/ 148 w 390"/>
                <a:gd name="T87" fmla="*/ 350 h 352"/>
                <a:gd name="T88" fmla="*/ 182 w 390"/>
                <a:gd name="T89" fmla="*/ 344 h 352"/>
                <a:gd name="T90" fmla="*/ 212 w 390"/>
                <a:gd name="T91" fmla="*/ 326 h 352"/>
                <a:gd name="T92" fmla="*/ 228 w 390"/>
                <a:gd name="T93" fmla="*/ 310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90" h="352">
                  <a:moveTo>
                    <a:pt x="270" y="118"/>
                  </a:moveTo>
                  <a:lnTo>
                    <a:pt x="374" y="118"/>
                  </a:lnTo>
                  <a:lnTo>
                    <a:pt x="374" y="118"/>
                  </a:lnTo>
                  <a:lnTo>
                    <a:pt x="380" y="136"/>
                  </a:lnTo>
                  <a:lnTo>
                    <a:pt x="386" y="156"/>
                  </a:lnTo>
                  <a:lnTo>
                    <a:pt x="388" y="174"/>
                  </a:lnTo>
                  <a:lnTo>
                    <a:pt x="390" y="194"/>
                  </a:lnTo>
                  <a:lnTo>
                    <a:pt x="390" y="194"/>
                  </a:lnTo>
                  <a:lnTo>
                    <a:pt x="388" y="218"/>
                  </a:lnTo>
                  <a:lnTo>
                    <a:pt x="384" y="240"/>
                  </a:lnTo>
                  <a:lnTo>
                    <a:pt x="378" y="262"/>
                  </a:lnTo>
                  <a:lnTo>
                    <a:pt x="370" y="282"/>
                  </a:lnTo>
                  <a:lnTo>
                    <a:pt x="358" y="302"/>
                  </a:lnTo>
                  <a:lnTo>
                    <a:pt x="346" y="320"/>
                  </a:lnTo>
                  <a:lnTo>
                    <a:pt x="332" y="336"/>
                  </a:lnTo>
                  <a:lnTo>
                    <a:pt x="316" y="352"/>
                  </a:lnTo>
                  <a:lnTo>
                    <a:pt x="270" y="352"/>
                  </a:lnTo>
                  <a:lnTo>
                    <a:pt x="270" y="352"/>
                  </a:lnTo>
                  <a:lnTo>
                    <a:pt x="278" y="340"/>
                  </a:lnTo>
                  <a:lnTo>
                    <a:pt x="284" y="326"/>
                  </a:lnTo>
                  <a:lnTo>
                    <a:pt x="292" y="314"/>
                  </a:lnTo>
                  <a:lnTo>
                    <a:pt x="296" y="298"/>
                  </a:lnTo>
                  <a:lnTo>
                    <a:pt x="300" y="284"/>
                  </a:lnTo>
                  <a:lnTo>
                    <a:pt x="304" y="268"/>
                  </a:lnTo>
                  <a:lnTo>
                    <a:pt x="306" y="252"/>
                  </a:lnTo>
                  <a:lnTo>
                    <a:pt x="306" y="236"/>
                  </a:lnTo>
                  <a:lnTo>
                    <a:pt x="306" y="236"/>
                  </a:lnTo>
                  <a:lnTo>
                    <a:pt x="306" y="218"/>
                  </a:lnTo>
                  <a:lnTo>
                    <a:pt x="304" y="202"/>
                  </a:lnTo>
                  <a:lnTo>
                    <a:pt x="300" y="186"/>
                  </a:lnTo>
                  <a:lnTo>
                    <a:pt x="296" y="172"/>
                  </a:lnTo>
                  <a:lnTo>
                    <a:pt x="292" y="158"/>
                  </a:lnTo>
                  <a:lnTo>
                    <a:pt x="284" y="144"/>
                  </a:lnTo>
                  <a:lnTo>
                    <a:pt x="278" y="130"/>
                  </a:lnTo>
                  <a:lnTo>
                    <a:pt x="270" y="118"/>
                  </a:lnTo>
                  <a:lnTo>
                    <a:pt x="270" y="118"/>
                  </a:lnTo>
                  <a:close/>
                  <a:moveTo>
                    <a:pt x="228" y="310"/>
                  </a:moveTo>
                  <a:lnTo>
                    <a:pt x="266" y="310"/>
                  </a:lnTo>
                  <a:lnTo>
                    <a:pt x="266" y="310"/>
                  </a:lnTo>
                  <a:lnTo>
                    <a:pt x="274" y="292"/>
                  </a:lnTo>
                  <a:lnTo>
                    <a:pt x="278" y="274"/>
                  </a:lnTo>
                  <a:lnTo>
                    <a:pt x="282" y="254"/>
                  </a:lnTo>
                  <a:lnTo>
                    <a:pt x="282" y="236"/>
                  </a:lnTo>
                  <a:lnTo>
                    <a:pt x="282" y="236"/>
                  </a:lnTo>
                  <a:lnTo>
                    <a:pt x="282" y="214"/>
                  </a:lnTo>
                  <a:lnTo>
                    <a:pt x="278" y="194"/>
                  </a:lnTo>
                  <a:lnTo>
                    <a:pt x="272" y="174"/>
                  </a:lnTo>
                  <a:lnTo>
                    <a:pt x="264" y="156"/>
                  </a:lnTo>
                  <a:lnTo>
                    <a:pt x="236" y="156"/>
                  </a:lnTo>
                  <a:lnTo>
                    <a:pt x="236" y="156"/>
                  </a:lnTo>
                  <a:lnTo>
                    <a:pt x="216" y="146"/>
                  </a:lnTo>
                  <a:lnTo>
                    <a:pt x="200" y="134"/>
                  </a:lnTo>
                  <a:lnTo>
                    <a:pt x="186" y="120"/>
                  </a:lnTo>
                  <a:lnTo>
                    <a:pt x="174" y="104"/>
                  </a:lnTo>
                  <a:lnTo>
                    <a:pt x="164" y="88"/>
                  </a:lnTo>
                  <a:lnTo>
                    <a:pt x="156" y="68"/>
                  </a:lnTo>
                  <a:lnTo>
                    <a:pt x="150" y="48"/>
                  </a:lnTo>
                  <a:lnTo>
                    <a:pt x="148" y="28"/>
                  </a:lnTo>
                  <a:lnTo>
                    <a:pt x="148" y="28"/>
                  </a:lnTo>
                  <a:lnTo>
                    <a:pt x="146" y="22"/>
                  </a:lnTo>
                  <a:lnTo>
                    <a:pt x="144" y="16"/>
                  </a:lnTo>
                  <a:lnTo>
                    <a:pt x="138" y="8"/>
                  </a:lnTo>
                  <a:lnTo>
                    <a:pt x="128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0" y="0"/>
                  </a:lnTo>
                  <a:lnTo>
                    <a:pt x="104" y="2"/>
                  </a:lnTo>
                  <a:lnTo>
                    <a:pt x="96" y="10"/>
                  </a:lnTo>
                  <a:lnTo>
                    <a:pt x="90" y="20"/>
                  </a:lnTo>
                  <a:lnTo>
                    <a:pt x="88" y="24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90" y="56"/>
                  </a:lnTo>
                  <a:lnTo>
                    <a:pt x="96" y="80"/>
                  </a:lnTo>
                  <a:lnTo>
                    <a:pt x="104" y="102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24"/>
                  </a:lnTo>
                  <a:lnTo>
                    <a:pt x="114" y="130"/>
                  </a:lnTo>
                  <a:lnTo>
                    <a:pt x="112" y="136"/>
                  </a:lnTo>
                  <a:lnTo>
                    <a:pt x="108" y="140"/>
                  </a:lnTo>
                  <a:lnTo>
                    <a:pt x="102" y="144"/>
                  </a:lnTo>
                  <a:lnTo>
                    <a:pt x="28" y="144"/>
                  </a:lnTo>
                  <a:lnTo>
                    <a:pt x="28" y="144"/>
                  </a:lnTo>
                  <a:lnTo>
                    <a:pt x="16" y="146"/>
                  </a:lnTo>
                  <a:lnTo>
                    <a:pt x="8" y="152"/>
                  </a:lnTo>
                  <a:lnTo>
                    <a:pt x="2" y="160"/>
                  </a:lnTo>
                  <a:lnTo>
                    <a:pt x="0" y="170"/>
                  </a:lnTo>
                  <a:lnTo>
                    <a:pt x="0" y="170"/>
                  </a:lnTo>
                  <a:lnTo>
                    <a:pt x="2" y="180"/>
                  </a:lnTo>
                  <a:lnTo>
                    <a:pt x="8" y="190"/>
                  </a:lnTo>
                  <a:lnTo>
                    <a:pt x="16" y="194"/>
                  </a:lnTo>
                  <a:lnTo>
                    <a:pt x="24" y="198"/>
                  </a:lnTo>
                  <a:lnTo>
                    <a:pt x="24" y="198"/>
                  </a:lnTo>
                  <a:lnTo>
                    <a:pt x="14" y="200"/>
                  </a:lnTo>
                  <a:lnTo>
                    <a:pt x="6" y="206"/>
                  </a:lnTo>
                  <a:lnTo>
                    <a:pt x="2" y="214"/>
                  </a:lnTo>
                  <a:lnTo>
                    <a:pt x="0" y="224"/>
                  </a:lnTo>
                  <a:lnTo>
                    <a:pt x="0" y="224"/>
                  </a:lnTo>
                  <a:lnTo>
                    <a:pt x="2" y="236"/>
                  </a:lnTo>
                  <a:lnTo>
                    <a:pt x="8" y="244"/>
                  </a:lnTo>
                  <a:lnTo>
                    <a:pt x="16" y="250"/>
                  </a:lnTo>
                  <a:lnTo>
                    <a:pt x="26" y="252"/>
                  </a:lnTo>
                  <a:lnTo>
                    <a:pt x="28" y="252"/>
                  </a:lnTo>
                  <a:lnTo>
                    <a:pt x="28" y="252"/>
                  </a:lnTo>
                  <a:lnTo>
                    <a:pt x="20" y="256"/>
                  </a:lnTo>
                  <a:lnTo>
                    <a:pt x="12" y="262"/>
                  </a:lnTo>
                  <a:lnTo>
                    <a:pt x="8" y="270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8" y="290"/>
                  </a:lnTo>
                  <a:lnTo>
                    <a:pt x="14" y="298"/>
                  </a:lnTo>
                  <a:lnTo>
                    <a:pt x="22" y="304"/>
                  </a:lnTo>
                  <a:lnTo>
                    <a:pt x="32" y="306"/>
                  </a:lnTo>
                  <a:lnTo>
                    <a:pt x="44" y="306"/>
                  </a:lnTo>
                  <a:lnTo>
                    <a:pt x="44" y="306"/>
                  </a:lnTo>
                  <a:lnTo>
                    <a:pt x="36" y="314"/>
                  </a:lnTo>
                  <a:lnTo>
                    <a:pt x="34" y="320"/>
                  </a:lnTo>
                  <a:lnTo>
                    <a:pt x="34" y="326"/>
                  </a:lnTo>
                  <a:lnTo>
                    <a:pt x="34" y="326"/>
                  </a:lnTo>
                  <a:lnTo>
                    <a:pt x="36" y="334"/>
                  </a:lnTo>
                  <a:lnTo>
                    <a:pt x="42" y="342"/>
                  </a:lnTo>
                  <a:lnTo>
                    <a:pt x="48" y="348"/>
                  </a:lnTo>
                  <a:lnTo>
                    <a:pt x="58" y="350"/>
                  </a:lnTo>
                  <a:lnTo>
                    <a:pt x="142" y="350"/>
                  </a:lnTo>
                  <a:lnTo>
                    <a:pt x="142" y="350"/>
                  </a:lnTo>
                  <a:lnTo>
                    <a:pt x="144" y="350"/>
                  </a:lnTo>
                  <a:lnTo>
                    <a:pt x="144" y="350"/>
                  </a:lnTo>
                  <a:lnTo>
                    <a:pt x="148" y="350"/>
                  </a:lnTo>
                  <a:lnTo>
                    <a:pt x="148" y="350"/>
                  </a:lnTo>
                  <a:lnTo>
                    <a:pt x="160" y="348"/>
                  </a:lnTo>
                  <a:lnTo>
                    <a:pt x="172" y="346"/>
                  </a:lnTo>
                  <a:lnTo>
                    <a:pt x="182" y="344"/>
                  </a:lnTo>
                  <a:lnTo>
                    <a:pt x="194" y="338"/>
                  </a:lnTo>
                  <a:lnTo>
                    <a:pt x="204" y="332"/>
                  </a:lnTo>
                  <a:lnTo>
                    <a:pt x="212" y="326"/>
                  </a:lnTo>
                  <a:lnTo>
                    <a:pt x="220" y="318"/>
                  </a:lnTo>
                  <a:lnTo>
                    <a:pt x="228" y="310"/>
                  </a:lnTo>
                  <a:lnTo>
                    <a:pt x="228" y="3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B87CCBFA-D0C9-45CE-8015-B94A58110164}"/>
              </a:ext>
            </a:extLst>
          </p:cNvPr>
          <p:cNvGrpSpPr/>
          <p:nvPr/>
        </p:nvGrpSpPr>
        <p:grpSpPr>
          <a:xfrm>
            <a:off x="801964" y="1917449"/>
            <a:ext cx="612000" cy="612000"/>
            <a:chOff x="7573215" y="3474401"/>
            <a:chExt cx="612000" cy="612000"/>
          </a:xfrm>
        </p:grpSpPr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B3335AD8-3221-49B9-9FC5-622C46F276EC}"/>
                </a:ext>
              </a:extLst>
            </p:cNvPr>
            <p:cNvSpPr/>
            <p:nvPr/>
          </p:nvSpPr>
          <p:spPr bwMode="ltGray">
            <a:xfrm>
              <a:off x="7573215" y="3474401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4" name="Freeform 4992">
              <a:extLst>
                <a:ext uri="{FF2B5EF4-FFF2-40B4-BE49-F238E27FC236}">
                  <a16:creationId xmlns:a16="http://schemas.microsoft.com/office/drawing/2014/main" id="{979927E2-EF90-4E9C-BB28-6F6F29A4681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95985" y="3601300"/>
              <a:ext cx="334377" cy="373145"/>
            </a:xfrm>
            <a:custGeom>
              <a:avLst/>
              <a:gdLst>
                <a:gd name="T0" fmla="*/ 14 w 276"/>
                <a:gd name="T1" fmla="*/ 26 h 308"/>
                <a:gd name="T2" fmla="*/ 36 w 276"/>
                <a:gd name="T3" fmla="*/ 30 h 308"/>
                <a:gd name="T4" fmla="*/ 2 w 276"/>
                <a:gd name="T5" fmla="*/ 52 h 308"/>
                <a:gd name="T6" fmla="*/ 6 w 276"/>
                <a:gd name="T7" fmla="*/ 30 h 308"/>
                <a:gd name="T8" fmla="*/ 176 w 276"/>
                <a:gd name="T9" fmla="*/ 202 h 308"/>
                <a:gd name="T10" fmla="*/ 174 w 276"/>
                <a:gd name="T11" fmla="*/ 194 h 308"/>
                <a:gd name="T12" fmla="*/ 100 w 276"/>
                <a:gd name="T13" fmla="*/ 132 h 308"/>
                <a:gd name="T14" fmla="*/ 50 w 276"/>
                <a:gd name="T15" fmla="*/ 80 h 308"/>
                <a:gd name="T16" fmla="*/ 30 w 276"/>
                <a:gd name="T17" fmla="*/ 58 h 308"/>
                <a:gd name="T18" fmla="*/ 22 w 276"/>
                <a:gd name="T19" fmla="*/ 64 h 308"/>
                <a:gd name="T20" fmla="*/ 42 w 276"/>
                <a:gd name="T21" fmla="*/ 88 h 308"/>
                <a:gd name="T22" fmla="*/ 92 w 276"/>
                <a:gd name="T23" fmla="*/ 140 h 308"/>
                <a:gd name="T24" fmla="*/ 168 w 276"/>
                <a:gd name="T25" fmla="*/ 204 h 308"/>
                <a:gd name="T26" fmla="*/ 172 w 276"/>
                <a:gd name="T27" fmla="*/ 206 h 308"/>
                <a:gd name="T28" fmla="*/ 176 w 276"/>
                <a:gd name="T29" fmla="*/ 202 h 308"/>
                <a:gd name="T30" fmla="*/ 276 w 276"/>
                <a:gd name="T31" fmla="*/ 292 h 308"/>
                <a:gd name="T32" fmla="*/ 266 w 276"/>
                <a:gd name="T33" fmla="*/ 308 h 308"/>
                <a:gd name="T34" fmla="*/ 62 w 276"/>
                <a:gd name="T35" fmla="*/ 308 h 308"/>
                <a:gd name="T36" fmla="*/ 46 w 276"/>
                <a:gd name="T37" fmla="*/ 298 h 308"/>
                <a:gd name="T38" fmla="*/ 46 w 276"/>
                <a:gd name="T39" fmla="*/ 112 h 308"/>
                <a:gd name="T40" fmla="*/ 88 w 276"/>
                <a:gd name="T41" fmla="*/ 156 h 308"/>
                <a:gd name="T42" fmla="*/ 168 w 276"/>
                <a:gd name="T43" fmla="*/ 220 h 308"/>
                <a:gd name="T44" fmla="*/ 182 w 276"/>
                <a:gd name="T45" fmla="*/ 214 h 308"/>
                <a:gd name="T46" fmla="*/ 200 w 276"/>
                <a:gd name="T47" fmla="*/ 196 h 308"/>
                <a:gd name="T48" fmla="*/ 204 w 276"/>
                <a:gd name="T49" fmla="*/ 182 h 308"/>
                <a:gd name="T50" fmla="*/ 136 w 276"/>
                <a:gd name="T51" fmla="*/ 106 h 308"/>
                <a:gd name="T52" fmla="*/ 86 w 276"/>
                <a:gd name="T53" fmla="*/ 62 h 308"/>
                <a:gd name="T54" fmla="*/ 62 w 276"/>
                <a:gd name="T55" fmla="*/ 34 h 308"/>
                <a:gd name="T56" fmla="*/ 116 w 276"/>
                <a:gd name="T57" fmla="*/ 68 h 308"/>
                <a:gd name="T58" fmla="*/ 150 w 276"/>
                <a:gd name="T59" fmla="*/ 106 h 308"/>
                <a:gd name="T60" fmla="*/ 162 w 276"/>
                <a:gd name="T61" fmla="*/ 126 h 308"/>
                <a:gd name="T62" fmla="*/ 168 w 276"/>
                <a:gd name="T63" fmla="*/ 126 h 308"/>
                <a:gd name="T64" fmla="*/ 170 w 276"/>
                <a:gd name="T65" fmla="*/ 118 h 308"/>
                <a:gd name="T66" fmla="*/ 144 w 276"/>
                <a:gd name="T67" fmla="*/ 80 h 308"/>
                <a:gd name="T68" fmla="*/ 102 w 276"/>
                <a:gd name="T69" fmla="*/ 40 h 308"/>
                <a:gd name="T70" fmla="*/ 62 w 276"/>
                <a:gd name="T71" fmla="*/ 20 h 308"/>
                <a:gd name="T72" fmla="*/ 46 w 276"/>
                <a:gd name="T73" fmla="*/ 16 h 308"/>
                <a:gd name="T74" fmla="*/ 50 w 276"/>
                <a:gd name="T75" fmla="*/ 4 h 308"/>
                <a:gd name="T76" fmla="*/ 194 w 276"/>
                <a:gd name="T77" fmla="*/ 0 h 308"/>
                <a:gd name="T78" fmla="*/ 276 w 276"/>
                <a:gd name="T79" fmla="*/ 82 h 308"/>
                <a:gd name="T80" fmla="*/ 220 w 276"/>
                <a:gd name="T81" fmla="*/ 206 h 308"/>
                <a:gd name="T82" fmla="*/ 220 w 276"/>
                <a:gd name="T83" fmla="*/ 206 h 308"/>
                <a:gd name="T84" fmla="*/ 202 w 276"/>
                <a:gd name="T85" fmla="*/ 214 h 308"/>
                <a:gd name="T86" fmla="*/ 194 w 276"/>
                <a:gd name="T87" fmla="*/ 226 h 308"/>
                <a:gd name="T88" fmla="*/ 240 w 276"/>
                <a:gd name="T89" fmla="*/ 272 h 308"/>
                <a:gd name="T90" fmla="*/ 238 w 276"/>
                <a:gd name="T91" fmla="*/ 266 h 308"/>
                <a:gd name="T92" fmla="*/ 88 w 276"/>
                <a:gd name="T93" fmla="*/ 264 h 308"/>
                <a:gd name="T94" fmla="*/ 84 w 276"/>
                <a:gd name="T95" fmla="*/ 266 h 308"/>
                <a:gd name="T96" fmla="*/ 80 w 276"/>
                <a:gd name="T97" fmla="*/ 272 h 308"/>
                <a:gd name="T98" fmla="*/ 86 w 276"/>
                <a:gd name="T99" fmla="*/ 280 h 308"/>
                <a:gd name="T100" fmla="*/ 232 w 276"/>
                <a:gd name="T101" fmla="*/ 280 h 308"/>
                <a:gd name="T102" fmla="*/ 240 w 276"/>
                <a:gd name="T103" fmla="*/ 274 h 308"/>
                <a:gd name="T104" fmla="*/ 262 w 276"/>
                <a:gd name="T105" fmla="*/ 84 h 308"/>
                <a:gd name="T106" fmla="*/ 220 w 276"/>
                <a:gd name="T107" fmla="*/ 42 h 308"/>
                <a:gd name="T108" fmla="*/ 262 w 276"/>
                <a:gd name="T109" fmla="*/ 84 h 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6" h="308">
                  <a:moveTo>
                    <a:pt x="6" y="30"/>
                  </a:moveTo>
                  <a:lnTo>
                    <a:pt x="6" y="30"/>
                  </a:lnTo>
                  <a:lnTo>
                    <a:pt x="14" y="26"/>
                  </a:lnTo>
                  <a:lnTo>
                    <a:pt x="20" y="24"/>
                  </a:lnTo>
                  <a:lnTo>
                    <a:pt x="28" y="26"/>
                  </a:lnTo>
                  <a:lnTo>
                    <a:pt x="36" y="3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2" y="52"/>
                  </a:lnTo>
                  <a:lnTo>
                    <a:pt x="0" y="46"/>
                  </a:lnTo>
                  <a:lnTo>
                    <a:pt x="2" y="38"/>
                  </a:lnTo>
                  <a:lnTo>
                    <a:pt x="6" y="30"/>
                  </a:lnTo>
                  <a:lnTo>
                    <a:pt x="6" y="30"/>
                  </a:lnTo>
                  <a:close/>
                  <a:moveTo>
                    <a:pt x="176" y="202"/>
                  </a:moveTo>
                  <a:lnTo>
                    <a:pt x="176" y="202"/>
                  </a:lnTo>
                  <a:lnTo>
                    <a:pt x="176" y="198"/>
                  </a:lnTo>
                  <a:lnTo>
                    <a:pt x="174" y="194"/>
                  </a:lnTo>
                  <a:lnTo>
                    <a:pt x="174" y="194"/>
                  </a:lnTo>
                  <a:lnTo>
                    <a:pt x="154" y="178"/>
                  </a:lnTo>
                  <a:lnTo>
                    <a:pt x="130" y="15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70" y="102"/>
                  </a:lnTo>
                  <a:lnTo>
                    <a:pt x="50" y="8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0" y="58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2" y="64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42" y="88"/>
                  </a:lnTo>
                  <a:lnTo>
                    <a:pt x="62" y="11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122" y="168"/>
                  </a:lnTo>
                  <a:lnTo>
                    <a:pt x="146" y="188"/>
                  </a:lnTo>
                  <a:lnTo>
                    <a:pt x="168" y="204"/>
                  </a:lnTo>
                  <a:lnTo>
                    <a:pt x="168" y="204"/>
                  </a:lnTo>
                  <a:lnTo>
                    <a:pt x="172" y="206"/>
                  </a:lnTo>
                  <a:lnTo>
                    <a:pt x="172" y="206"/>
                  </a:lnTo>
                  <a:lnTo>
                    <a:pt x="174" y="204"/>
                  </a:lnTo>
                  <a:lnTo>
                    <a:pt x="176" y="202"/>
                  </a:lnTo>
                  <a:lnTo>
                    <a:pt x="176" y="202"/>
                  </a:lnTo>
                  <a:close/>
                  <a:moveTo>
                    <a:pt x="276" y="82"/>
                  </a:moveTo>
                  <a:lnTo>
                    <a:pt x="276" y="292"/>
                  </a:lnTo>
                  <a:lnTo>
                    <a:pt x="276" y="292"/>
                  </a:lnTo>
                  <a:lnTo>
                    <a:pt x="274" y="298"/>
                  </a:lnTo>
                  <a:lnTo>
                    <a:pt x="270" y="304"/>
                  </a:lnTo>
                  <a:lnTo>
                    <a:pt x="266" y="308"/>
                  </a:lnTo>
                  <a:lnTo>
                    <a:pt x="260" y="308"/>
                  </a:lnTo>
                  <a:lnTo>
                    <a:pt x="62" y="308"/>
                  </a:lnTo>
                  <a:lnTo>
                    <a:pt x="62" y="308"/>
                  </a:lnTo>
                  <a:lnTo>
                    <a:pt x="56" y="308"/>
                  </a:lnTo>
                  <a:lnTo>
                    <a:pt x="50" y="304"/>
                  </a:lnTo>
                  <a:lnTo>
                    <a:pt x="46" y="298"/>
                  </a:lnTo>
                  <a:lnTo>
                    <a:pt x="46" y="292"/>
                  </a:lnTo>
                  <a:lnTo>
                    <a:pt x="46" y="112"/>
                  </a:lnTo>
                  <a:lnTo>
                    <a:pt x="46" y="112"/>
                  </a:lnTo>
                  <a:lnTo>
                    <a:pt x="64" y="132"/>
                  </a:lnTo>
                  <a:lnTo>
                    <a:pt x="88" y="156"/>
                  </a:lnTo>
                  <a:lnTo>
                    <a:pt x="88" y="156"/>
                  </a:lnTo>
                  <a:lnTo>
                    <a:pt x="122" y="186"/>
                  </a:lnTo>
                  <a:lnTo>
                    <a:pt x="150" y="208"/>
                  </a:lnTo>
                  <a:lnTo>
                    <a:pt x="168" y="220"/>
                  </a:lnTo>
                  <a:lnTo>
                    <a:pt x="178" y="226"/>
                  </a:lnTo>
                  <a:lnTo>
                    <a:pt x="178" y="226"/>
                  </a:lnTo>
                  <a:lnTo>
                    <a:pt x="182" y="214"/>
                  </a:lnTo>
                  <a:lnTo>
                    <a:pt x="190" y="204"/>
                  </a:lnTo>
                  <a:lnTo>
                    <a:pt x="190" y="204"/>
                  </a:lnTo>
                  <a:lnTo>
                    <a:pt x="200" y="196"/>
                  </a:lnTo>
                  <a:lnTo>
                    <a:pt x="210" y="192"/>
                  </a:lnTo>
                  <a:lnTo>
                    <a:pt x="210" y="192"/>
                  </a:lnTo>
                  <a:lnTo>
                    <a:pt x="204" y="182"/>
                  </a:lnTo>
                  <a:lnTo>
                    <a:pt x="190" y="164"/>
                  </a:lnTo>
                  <a:lnTo>
                    <a:pt x="168" y="136"/>
                  </a:lnTo>
                  <a:lnTo>
                    <a:pt x="136" y="106"/>
                  </a:lnTo>
                  <a:lnTo>
                    <a:pt x="136" y="106"/>
                  </a:lnTo>
                  <a:lnTo>
                    <a:pt x="110" y="82"/>
                  </a:lnTo>
                  <a:lnTo>
                    <a:pt x="86" y="62"/>
                  </a:lnTo>
                  <a:lnTo>
                    <a:pt x="54" y="40"/>
                  </a:lnTo>
                  <a:lnTo>
                    <a:pt x="62" y="34"/>
                  </a:lnTo>
                  <a:lnTo>
                    <a:pt x="62" y="34"/>
                  </a:lnTo>
                  <a:lnTo>
                    <a:pt x="84" y="44"/>
                  </a:lnTo>
                  <a:lnTo>
                    <a:pt x="98" y="5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36" y="88"/>
                  </a:lnTo>
                  <a:lnTo>
                    <a:pt x="150" y="106"/>
                  </a:lnTo>
                  <a:lnTo>
                    <a:pt x="160" y="124"/>
                  </a:lnTo>
                  <a:lnTo>
                    <a:pt x="160" y="124"/>
                  </a:lnTo>
                  <a:lnTo>
                    <a:pt x="162" y="126"/>
                  </a:lnTo>
                  <a:lnTo>
                    <a:pt x="166" y="126"/>
                  </a:lnTo>
                  <a:lnTo>
                    <a:pt x="166" y="126"/>
                  </a:lnTo>
                  <a:lnTo>
                    <a:pt x="168" y="126"/>
                  </a:lnTo>
                  <a:lnTo>
                    <a:pt x="168" y="126"/>
                  </a:lnTo>
                  <a:lnTo>
                    <a:pt x="172" y="122"/>
                  </a:lnTo>
                  <a:lnTo>
                    <a:pt x="170" y="118"/>
                  </a:lnTo>
                  <a:lnTo>
                    <a:pt x="170" y="118"/>
                  </a:lnTo>
                  <a:lnTo>
                    <a:pt x="158" y="98"/>
                  </a:lnTo>
                  <a:lnTo>
                    <a:pt x="144" y="80"/>
                  </a:lnTo>
                  <a:lnTo>
                    <a:pt x="124" y="58"/>
                  </a:lnTo>
                  <a:lnTo>
                    <a:pt x="124" y="58"/>
                  </a:lnTo>
                  <a:lnTo>
                    <a:pt x="102" y="40"/>
                  </a:lnTo>
                  <a:lnTo>
                    <a:pt x="82" y="30"/>
                  </a:lnTo>
                  <a:lnTo>
                    <a:pt x="68" y="22"/>
                  </a:lnTo>
                  <a:lnTo>
                    <a:pt x="62" y="20"/>
                  </a:lnTo>
                  <a:lnTo>
                    <a:pt x="58" y="20"/>
                  </a:lnTo>
                  <a:lnTo>
                    <a:pt x="46" y="34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0"/>
                  </a:lnTo>
                  <a:lnTo>
                    <a:pt x="50" y="4"/>
                  </a:lnTo>
                  <a:lnTo>
                    <a:pt x="56" y="0"/>
                  </a:lnTo>
                  <a:lnTo>
                    <a:pt x="62" y="0"/>
                  </a:lnTo>
                  <a:lnTo>
                    <a:pt x="194" y="0"/>
                  </a:lnTo>
                  <a:lnTo>
                    <a:pt x="210" y="16"/>
                  </a:lnTo>
                  <a:lnTo>
                    <a:pt x="260" y="66"/>
                  </a:lnTo>
                  <a:lnTo>
                    <a:pt x="276" y="82"/>
                  </a:lnTo>
                  <a:close/>
                  <a:moveTo>
                    <a:pt x="194" y="234"/>
                  </a:moveTo>
                  <a:lnTo>
                    <a:pt x="234" y="24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20" y="206"/>
                  </a:lnTo>
                  <a:lnTo>
                    <a:pt x="212" y="208"/>
                  </a:lnTo>
                  <a:lnTo>
                    <a:pt x="206" y="210"/>
                  </a:lnTo>
                  <a:lnTo>
                    <a:pt x="202" y="214"/>
                  </a:lnTo>
                  <a:lnTo>
                    <a:pt x="202" y="214"/>
                  </a:lnTo>
                  <a:lnTo>
                    <a:pt x="198" y="220"/>
                  </a:lnTo>
                  <a:lnTo>
                    <a:pt x="194" y="226"/>
                  </a:lnTo>
                  <a:lnTo>
                    <a:pt x="194" y="234"/>
                  </a:lnTo>
                  <a:lnTo>
                    <a:pt x="194" y="234"/>
                  </a:lnTo>
                  <a:close/>
                  <a:moveTo>
                    <a:pt x="240" y="272"/>
                  </a:moveTo>
                  <a:lnTo>
                    <a:pt x="240" y="272"/>
                  </a:lnTo>
                  <a:lnTo>
                    <a:pt x="240" y="268"/>
                  </a:lnTo>
                  <a:lnTo>
                    <a:pt x="238" y="266"/>
                  </a:lnTo>
                  <a:lnTo>
                    <a:pt x="236" y="264"/>
                  </a:lnTo>
                  <a:lnTo>
                    <a:pt x="232" y="264"/>
                  </a:lnTo>
                  <a:lnTo>
                    <a:pt x="88" y="264"/>
                  </a:lnTo>
                  <a:lnTo>
                    <a:pt x="88" y="264"/>
                  </a:lnTo>
                  <a:lnTo>
                    <a:pt x="86" y="264"/>
                  </a:lnTo>
                  <a:lnTo>
                    <a:pt x="84" y="266"/>
                  </a:lnTo>
                  <a:lnTo>
                    <a:pt x="82" y="268"/>
                  </a:lnTo>
                  <a:lnTo>
                    <a:pt x="80" y="272"/>
                  </a:lnTo>
                  <a:lnTo>
                    <a:pt x="80" y="272"/>
                  </a:lnTo>
                  <a:lnTo>
                    <a:pt x="82" y="274"/>
                  </a:lnTo>
                  <a:lnTo>
                    <a:pt x="84" y="278"/>
                  </a:lnTo>
                  <a:lnTo>
                    <a:pt x="86" y="280"/>
                  </a:lnTo>
                  <a:lnTo>
                    <a:pt x="88" y="280"/>
                  </a:lnTo>
                  <a:lnTo>
                    <a:pt x="232" y="280"/>
                  </a:lnTo>
                  <a:lnTo>
                    <a:pt x="232" y="280"/>
                  </a:lnTo>
                  <a:lnTo>
                    <a:pt x="236" y="280"/>
                  </a:lnTo>
                  <a:lnTo>
                    <a:pt x="238" y="278"/>
                  </a:lnTo>
                  <a:lnTo>
                    <a:pt x="240" y="274"/>
                  </a:lnTo>
                  <a:lnTo>
                    <a:pt x="240" y="272"/>
                  </a:lnTo>
                  <a:lnTo>
                    <a:pt x="240" y="272"/>
                  </a:lnTo>
                  <a:close/>
                  <a:moveTo>
                    <a:pt x="262" y="84"/>
                  </a:moveTo>
                  <a:lnTo>
                    <a:pt x="244" y="66"/>
                  </a:lnTo>
                  <a:lnTo>
                    <a:pt x="220" y="66"/>
                  </a:lnTo>
                  <a:lnTo>
                    <a:pt x="220" y="42"/>
                  </a:lnTo>
                  <a:lnTo>
                    <a:pt x="202" y="24"/>
                  </a:lnTo>
                  <a:lnTo>
                    <a:pt x="202" y="84"/>
                  </a:lnTo>
                  <a:lnTo>
                    <a:pt x="262" y="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Rectangle: Diagonal Corners Snipped 39">
            <a:extLst>
              <a:ext uri="{FF2B5EF4-FFF2-40B4-BE49-F238E27FC236}">
                <a16:creationId xmlns:a16="http://schemas.microsoft.com/office/drawing/2014/main" id="{13D730FD-C64A-4A15-A9E1-64C9E61C596F}"/>
              </a:ext>
            </a:extLst>
          </p:cNvPr>
          <p:cNvSpPr/>
          <p:nvPr/>
        </p:nvSpPr>
        <p:spPr>
          <a:xfrm>
            <a:off x="8178478" y="1711068"/>
            <a:ext cx="3399048" cy="4695249"/>
          </a:xfrm>
          <a:prstGeom prst="snip2DiagRect">
            <a:avLst/>
          </a:prstGeom>
          <a:solidFill>
            <a:srgbClr val="7F8FA9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612000" rIns="0" bIns="80669" anchor="t" anchorCtr="0">
            <a:noAutofit/>
          </a:bodyPr>
          <a:lstStyle/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  <a:p>
            <a:pPr marL="342900" indent="-34290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en-US" sz="16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A5B1F799-C11F-4407-8A2A-F54B7CA6EA63}"/>
              </a:ext>
            </a:extLst>
          </p:cNvPr>
          <p:cNvSpPr/>
          <p:nvPr/>
        </p:nvSpPr>
        <p:spPr>
          <a:xfrm>
            <a:off x="9026499" y="2054172"/>
            <a:ext cx="259668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Προώθηση προορισμού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7E3283DF-0949-4DF5-961B-86F13D4E92DE}"/>
              </a:ext>
            </a:extLst>
          </p:cNvPr>
          <p:cNvGrpSpPr/>
          <p:nvPr/>
        </p:nvGrpSpPr>
        <p:grpSpPr>
          <a:xfrm>
            <a:off x="8283770" y="1922073"/>
            <a:ext cx="602752" cy="602752"/>
            <a:chOff x="4019916" y="3216936"/>
            <a:chExt cx="737074" cy="737074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7E416D2F-0800-41E7-97FA-9127F24E3AD1}"/>
                </a:ext>
              </a:extLst>
            </p:cNvPr>
            <p:cNvSpPr/>
            <p:nvPr/>
          </p:nvSpPr>
          <p:spPr bwMode="ltGray">
            <a:xfrm>
              <a:off x="4019916" y="3216936"/>
              <a:ext cx="737074" cy="737074"/>
            </a:xfrm>
            <a:prstGeom prst="ellipse">
              <a:avLst/>
            </a:prstGeom>
            <a:solidFill>
              <a:schemeClr val="tx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9" name="Freeform 363">
              <a:extLst>
                <a:ext uri="{FF2B5EF4-FFF2-40B4-BE49-F238E27FC236}">
                  <a16:creationId xmlns:a16="http://schemas.microsoft.com/office/drawing/2014/main" id="{AC07E06E-A6B3-4B89-9F44-16B5B5AB8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3260" y="3474514"/>
              <a:ext cx="332724" cy="261442"/>
            </a:xfrm>
            <a:custGeom>
              <a:avLst/>
              <a:gdLst>
                <a:gd name="T0" fmla="*/ 1544 w 2922"/>
                <a:gd name="T1" fmla="*/ 468 h 2296"/>
                <a:gd name="T2" fmla="*/ 1544 w 2922"/>
                <a:gd name="T3" fmla="*/ 652 h 2296"/>
                <a:gd name="T4" fmla="*/ 2922 w 2922"/>
                <a:gd name="T5" fmla="*/ 412 h 2296"/>
                <a:gd name="T6" fmla="*/ 2922 w 2922"/>
                <a:gd name="T7" fmla="*/ 0 h 2296"/>
                <a:gd name="T8" fmla="*/ 1544 w 2922"/>
                <a:gd name="T9" fmla="*/ 468 h 2296"/>
                <a:gd name="T10" fmla="*/ 1544 w 2922"/>
                <a:gd name="T11" fmla="*/ 468 h 2296"/>
                <a:gd name="T12" fmla="*/ 664 w 2922"/>
                <a:gd name="T13" fmla="*/ 1576 h 2296"/>
                <a:gd name="T14" fmla="*/ 596 w 2922"/>
                <a:gd name="T15" fmla="*/ 1710 h 2296"/>
                <a:gd name="T16" fmla="*/ 892 w 2922"/>
                <a:gd name="T17" fmla="*/ 2296 h 2296"/>
                <a:gd name="T18" fmla="*/ 1008 w 2922"/>
                <a:gd name="T19" fmla="*/ 2296 h 2296"/>
                <a:gd name="T20" fmla="*/ 664 w 2922"/>
                <a:gd name="T21" fmla="*/ 1576 h 2296"/>
                <a:gd name="T22" fmla="*/ 664 w 2922"/>
                <a:gd name="T23" fmla="*/ 1576 h 2296"/>
                <a:gd name="T24" fmla="*/ 0 w 2922"/>
                <a:gd name="T25" fmla="*/ 400 h 2296"/>
                <a:gd name="T26" fmla="*/ 972 w 2922"/>
                <a:gd name="T27" fmla="*/ 400 h 2296"/>
                <a:gd name="T28" fmla="*/ 972 w 2922"/>
                <a:gd name="T29" fmla="*/ 608 h 2296"/>
                <a:gd name="T30" fmla="*/ 0 w 2922"/>
                <a:gd name="T31" fmla="*/ 608 h 2296"/>
                <a:gd name="T32" fmla="*/ 0 w 2922"/>
                <a:gd name="T33" fmla="*/ 400 h 2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922" h="2296">
                  <a:moveTo>
                    <a:pt x="1544" y="468"/>
                  </a:moveTo>
                  <a:lnTo>
                    <a:pt x="1544" y="652"/>
                  </a:lnTo>
                  <a:lnTo>
                    <a:pt x="2922" y="412"/>
                  </a:lnTo>
                  <a:lnTo>
                    <a:pt x="2922" y="0"/>
                  </a:lnTo>
                  <a:lnTo>
                    <a:pt x="1544" y="468"/>
                  </a:lnTo>
                  <a:lnTo>
                    <a:pt x="1544" y="468"/>
                  </a:lnTo>
                  <a:close/>
                  <a:moveTo>
                    <a:pt x="664" y="1576"/>
                  </a:moveTo>
                  <a:lnTo>
                    <a:pt x="596" y="1710"/>
                  </a:lnTo>
                  <a:lnTo>
                    <a:pt x="892" y="2296"/>
                  </a:lnTo>
                  <a:lnTo>
                    <a:pt x="1008" y="2296"/>
                  </a:lnTo>
                  <a:lnTo>
                    <a:pt x="664" y="1576"/>
                  </a:lnTo>
                  <a:lnTo>
                    <a:pt x="664" y="1576"/>
                  </a:lnTo>
                  <a:close/>
                  <a:moveTo>
                    <a:pt x="0" y="400"/>
                  </a:moveTo>
                  <a:lnTo>
                    <a:pt x="972" y="400"/>
                  </a:lnTo>
                  <a:lnTo>
                    <a:pt x="972" y="608"/>
                  </a:lnTo>
                  <a:lnTo>
                    <a:pt x="0" y="608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Rectangle 6">
              <a:extLst>
                <a:ext uri="{FF2B5EF4-FFF2-40B4-BE49-F238E27FC236}">
                  <a16:creationId xmlns:a16="http://schemas.microsoft.com/office/drawing/2014/main" id="{D80F0A23-34A9-4023-848A-DCB1DFA7D4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01391" y="3507848"/>
              <a:ext cx="110574" cy="2387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3" name="Freeform 7">
              <a:extLst>
                <a:ext uri="{FF2B5EF4-FFF2-40B4-BE49-F238E27FC236}">
                  <a16:creationId xmlns:a16="http://schemas.microsoft.com/office/drawing/2014/main" id="{7DDE208D-366C-46DB-ABFD-F635DAD47D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4368" y="3461006"/>
              <a:ext cx="26123" cy="165748"/>
            </a:xfrm>
            <a:custGeom>
              <a:avLst/>
              <a:gdLst>
                <a:gd name="T0" fmla="*/ 0 w 232"/>
                <a:gd name="T1" fmla="*/ 0 h 1472"/>
                <a:gd name="T2" fmla="*/ 0 w 232"/>
                <a:gd name="T3" fmla="*/ 1472 h 1472"/>
                <a:gd name="T4" fmla="*/ 0 w 232"/>
                <a:gd name="T5" fmla="*/ 1472 h 1472"/>
                <a:gd name="T6" fmla="*/ 24 w 232"/>
                <a:gd name="T7" fmla="*/ 1472 h 1472"/>
                <a:gd name="T8" fmla="*/ 46 w 232"/>
                <a:gd name="T9" fmla="*/ 1468 h 1472"/>
                <a:gd name="T10" fmla="*/ 68 w 232"/>
                <a:gd name="T11" fmla="*/ 1462 h 1472"/>
                <a:gd name="T12" fmla="*/ 90 w 232"/>
                <a:gd name="T13" fmla="*/ 1454 h 1472"/>
                <a:gd name="T14" fmla="*/ 110 w 232"/>
                <a:gd name="T15" fmla="*/ 1444 h 1472"/>
                <a:gd name="T16" fmla="*/ 130 w 232"/>
                <a:gd name="T17" fmla="*/ 1434 h 1472"/>
                <a:gd name="T18" fmla="*/ 148 w 232"/>
                <a:gd name="T19" fmla="*/ 1420 h 1472"/>
                <a:gd name="T20" fmla="*/ 164 w 232"/>
                <a:gd name="T21" fmla="*/ 1404 h 1472"/>
                <a:gd name="T22" fmla="*/ 178 w 232"/>
                <a:gd name="T23" fmla="*/ 1388 h 1472"/>
                <a:gd name="T24" fmla="*/ 192 w 232"/>
                <a:gd name="T25" fmla="*/ 1370 h 1472"/>
                <a:gd name="T26" fmla="*/ 204 w 232"/>
                <a:gd name="T27" fmla="*/ 1352 h 1472"/>
                <a:gd name="T28" fmla="*/ 214 w 232"/>
                <a:gd name="T29" fmla="*/ 1332 h 1472"/>
                <a:gd name="T30" fmla="*/ 222 w 232"/>
                <a:gd name="T31" fmla="*/ 1310 h 1472"/>
                <a:gd name="T32" fmla="*/ 226 w 232"/>
                <a:gd name="T33" fmla="*/ 1288 h 1472"/>
                <a:gd name="T34" fmla="*/ 230 w 232"/>
                <a:gd name="T35" fmla="*/ 1264 h 1472"/>
                <a:gd name="T36" fmla="*/ 232 w 232"/>
                <a:gd name="T37" fmla="*/ 1242 h 1472"/>
                <a:gd name="T38" fmla="*/ 232 w 232"/>
                <a:gd name="T39" fmla="*/ 230 h 1472"/>
                <a:gd name="T40" fmla="*/ 232 w 232"/>
                <a:gd name="T41" fmla="*/ 230 h 1472"/>
                <a:gd name="T42" fmla="*/ 230 w 232"/>
                <a:gd name="T43" fmla="*/ 208 h 1472"/>
                <a:gd name="T44" fmla="*/ 226 w 232"/>
                <a:gd name="T45" fmla="*/ 184 h 1472"/>
                <a:gd name="T46" fmla="*/ 222 w 232"/>
                <a:gd name="T47" fmla="*/ 162 h 1472"/>
                <a:gd name="T48" fmla="*/ 214 w 232"/>
                <a:gd name="T49" fmla="*/ 140 h 1472"/>
                <a:gd name="T50" fmla="*/ 204 w 232"/>
                <a:gd name="T51" fmla="*/ 120 h 1472"/>
                <a:gd name="T52" fmla="*/ 192 w 232"/>
                <a:gd name="T53" fmla="*/ 102 h 1472"/>
                <a:gd name="T54" fmla="*/ 178 w 232"/>
                <a:gd name="T55" fmla="*/ 84 h 1472"/>
                <a:gd name="T56" fmla="*/ 164 w 232"/>
                <a:gd name="T57" fmla="*/ 68 h 1472"/>
                <a:gd name="T58" fmla="*/ 148 w 232"/>
                <a:gd name="T59" fmla="*/ 52 h 1472"/>
                <a:gd name="T60" fmla="*/ 130 w 232"/>
                <a:gd name="T61" fmla="*/ 38 h 1472"/>
                <a:gd name="T62" fmla="*/ 110 w 232"/>
                <a:gd name="T63" fmla="*/ 28 h 1472"/>
                <a:gd name="T64" fmla="*/ 90 w 232"/>
                <a:gd name="T65" fmla="*/ 18 h 1472"/>
                <a:gd name="T66" fmla="*/ 68 w 232"/>
                <a:gd name="T67" fmla="*/ 10 h 1472"/>
                <a:gd name="T68" fmla="*/ 46 w 232"/>
                <a:gd name="T69" fmla="*/ 4 h 1472"/>
                <a:gd name="T70" fmla="*/ 24 w 232"/>
                <a:gd name="T71" fmla="*/ 0 h 1472"/>
                <a:gd name="T72" fmla="*/ 0 w 232"/>
                <a:gd name="T73" fmla="*/ 0 h 1472"/>
                <a:gd name="T74" fmla="*/ 0 w 232"/>
                <a:gd name="T75" fmla="*/ 0 h 1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2" h="1472">
                  <a:moveTo>
                    <a:pt x="0" y="0"/>
                  </a:moveTo>
                  <a:lnTo>
                    <a:pt x="0" y="1472"/>
                  </a:lnTo>
                  <a:lnTo>
                    <a:pt x="0" y="1472"/>
                  </a:lnTo>
                  <a:lnTo>
                    <a:pt x="24" y="1472"/>
                  </a:lnTo>
                  <a:lnTo>
                    <a:pt x="46" y="1468"/>
                  </a:lnTo>
                  <a:lnTo>
                    <a:pt x="68" y="1462"/>
                  </a:lnTo>
                  <a:lnTo>
                    <a:pt x="90" y="1454"/>
                  </a:lnTo>
                  <a:lnTo>
                    <a:pt x="110" y="1444"/>
                  </a:lnTo>
                  <a:lnTo>
                    <a:pt x="130" y="1434"/>
                  </a:lnTo>
                  <a:lnTo>
                    <a:pt x="148" y="1420"/>
                  </a:lnTo>
                  <a:lnTo>
                    <a:pt x="164" y="1404"/>
                  </a:lnTo>
                  <a:lnTo>
                    <a:pt x="178" y="1388"/>
                  </a:lnTo>
                  <a:lnTo>
                    <a:pt x="192" y="1370"/>
                  </a:lnTo>
                  <a:lnTo>
                    <a:pt x="204" y="1352"/>
                  </a:lnTo>
                  <a:lnTo>
                    <a:pt x="214" y="1332"/>
                  </a:lnTo>
                  <a:lnTo>
                    <a:pt x="222" y="1310"/>
                  </a:lnTo>
                  <a:lnTo>
                    <a:pt x="226" y="1288"/>
                  </a:lnTo>
                  <a:lnTo>
                    <a:pt x="230" y="1264"/>
                  </a:lnTo>
                  <a:lnTo>
                    <a:pt x="232" y="1242"/>
                  </a:lnTo>
                  <a:lnTo>
                    <a:pt x="232" y="230"/>
                  </a:lnTo>
                  <a:lnTo>
                    <a:pt x="232" y="230"/>
                  </a:lnTo>
                  <a:lnTo>
                    <a:pt x="230" y="208"/>
                  </a:lnTo>
                  <a:lnTo>
                    <a:pt x="226" y="184"/>
                  </a:lnTo>
                  <a:lnTo>
                    <a:pt x="222" y="162"/>
                  </a:lnTo>
                  <a:lnTo>
                    <a:pt x="214" y="140"/>
                  </a:lnTo>
                  <a:lnTo>
                    <a:pt x="204" y="120"/>
                  </a:lnTo>
                  <a:lnTo>
                    <a:pt x="192" y="102"/>
                  </a:lnTo>
                  <a:lnTo>
                    <a:pt x="178" y="84"/>
                  </a:lnTo>
                  <a:lnTo>
                    <a:pt x="164" y="68"/>
                  </a:lnTo>
                  <a:lnTo>
                    <a:pt x="148" y="52"/>
                  </a:lnTo>
                  <a:lnTo>
                    <a:pt x="130" y="38"/>
                  </a:lnTo>
                  <a:lnTo>
                    <a:pt x="110" y="28"/>
                  </a:lnTo>
                  <a:lnTo>
                    <a:pt x="90" y="18"/>
                  </a:lnTo>
                  <a:lnTo>
                    <a:pt x="68" y="10"/>
                  </a:lnTo>
                  <a:lnTo>
                    <a:pt x="46" y="4"/>
                  </a:lnTo>
                  <a:lnTo>
                    <a:pt x="24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8">
              <a:extLst>
                <a:ext uri="{FF2B5EF4-FFF2-40B4-BE49-F238E27FC236}">
                  <a16:creationId xmlns:a16="http://schemas.microsoft.com/office/drawing/2014/main" id="{C8FB915B-6510-4B53-85F3-7E47D98E86F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52748" y="3389167"/>
              <a:ext cx="426531" cy="366177"/>
            </a:xfrm>
            <a:custGeom>
              <a:avLst/>
              <a:gdLst>
                <a:gd name="T0" fmla="*/ 3758 w 3788"/>
                <a:gd name="T1" fmla="*/ 52 h 3252"/>
                <a:gd name="T2" fmla="*/ 3704 w 3788"/>
                <a:gd name="T3" fmla="*/ 12 h 3252"/>
                <a:gd name="T4" fmla="*/ 3638 w 3788"/>
                <a:gd name="T5" fmla="*/ 0 h 3252"/>
                <a:gd name="T6" fmla="*/ 1722 w 3788"/>
                <a:gd name="T7" fmla="*/ 748 h 3252"/>
                <a:gd name="T8" fmla="*/ 1560 w 3788"/>
                <a:gd name="T9" fmla="*/ 662 h 3252"/>
                <a:gd name="T10" fmla="*/ 426 w 3788"/>
                <a:gd name="T11" fmla="*/ 646 h 3252"/>
                <a:gd name="T12" fmla="*/ 224 w 3788"/>
                <a:gd name="T13" fmla="*/ 698 h 3252"/>
                <a:gd name="T14" fmla="*/ 126 w 3788"/>
                <a:gd name="T15" fmla="*/ 772 h 3252"/>
                <a:gd name="T16" fmla="*/ 34 w 3788"/>
                <a:gd name="T17" fmla="*/ 908 h 3252"/>
                <a:gd name="T18" fmla="*/ 0 w 3788"/>
                <a:gd name="T19" fmla="*/ 1670 h 3252"/>
                <a:gd name="T20" fmla="*/ 34 w 3788"/>
                <a:gd name="T21" fmla="*/ 1836 h 3252"/>
                <a:gd name="T22" fmla="*/ 126 w 3788"/>
                <a:gd name="T23" fmla="*/ 1972 h 3252"/>
                <a:gd name="T24" fmla="*/ 292 w 3788"/>
                <a:gd name="T25" fmla="*/ 2074 h 3252"/>
                <a:gd name="T26" fmla="*/ 922 w 3788"/>
                <a:gd name="T27" fmla="*/ 3160 h 3252"/>
                <a:gd name="T28" fmla="*/ 990 w 3788"/>
                <a:gd name="T29" fmla="*/ 3238 h 3252"/>
                <a:gd name="T30" fmla="*/ 1676 w 3788"/>
                <a:gd name="T31" fmla="*/ 3252 h 3252"/>
                <a:gd name="T32" fmla="*/ 1736 w 3788"/>
                <a:gd name="T33" fmla="*/ 3238 h 3252"/>
                <a:gd name="T34" fmla="*/ 1780 w 3788"/>
                <a:gd name="T35" fmla="*/ 3204 h 3252"/>
                <a:gd name="T36" fmla="*/ 1812 w 3788"/>
                <a:gd name="T37" fmla="*/ 3146 h 3252"/>
                <a:gd name="T38" fmla="*/ 1812 w 3788"/>
                <a:gd name="T39" fmla="*/ 3078 h 3252"/>
                <a:gd name="T40" fmla="*/ 1446 w 3788"/>
                <a:gd name="T41" fmla="*/ 2096 h 3252"/>
                <a:gd name="T42" fmla="*/ 1606 w 3788"/>
                <a:gd name="T43" fmla="*/ 2064 h 3252"/>
                <a:gd name="T44" fmla="*/ 3588 w 3788"/>
                <a:gd name="T45" fmla="*/ 2766 h 3252"/>
                <a:gd name="T46" fmla="*/ 3648 w 3788"/>
                <a:gd name="T47" fmla="*/ 2778 h 3252"/>
                <a:gd name="T48" fmla="*/ 3714 w 3788"/>
                <a:gd name="T49" fmla="*/ 2762 h 3252"/>
                <a:gd name="T50" fmla="*/ 3764 w 3788"/>
                <a:gd name="T51" fmla="*/ 2716 h 3252"/>
                <a:gd name="T52" fmla="*/ 3788 w 3788"/>
                <a:gd name="T53" fmla="*/ 2652 h 3252"/>
                <a:gd name="T54" fmla="*/ 3788 w 3788"/>
                <a:gd name="T55" fmla="*/ 128 h 3252"/>
                <a:gd name="T56" fmla="*/ 1452 w 3788"/>
                <a:gd name="T57" fmla="*/ 2970 h 3252"/>
                <a:gd name="T58" fmla="*/ 1592 w 3788"/>
                <a:gd name="T59" fmla="*/ 1070 h 3252"/>
                <a:gd name="T60" fmla="*/ 1592 w 3788"/>
                <a:gd name="T61" fmla="*/ 1670 h 3252"/>
                <a:gd name="T62" fmla="*/ 1592 w 3788"/>
                <a:gd name="T63" fmla="*/ 1672 h 3252"/>
                <a:gd name="T64" fmla="*/ 1592 w 3788"/>
                <a:gd name="T65" fmla="*/ 1676 h 3252"/>
                <a:gd name="T66" fmla="*/ 1586 w 3788"/>
                <a:gd name="T67" fmla="*/ 1704 h 3252"/>
                <a:gd name="T68" fmla="*/ 1548 w 3788"/>
                <a:gd name="T69" fmla="*/ 1772 h 3252"/>
                <a:gd name="T70" fmla="*/ 1486 w 3788"/>
                <a:gd name="T71" fmla="*/ 1808 h 3252"/>
                <a:gd name="T72" fmla="*/ 500 w 3788"/>
                <a:gd name="T73" fmla="*/ 1814 h 3252"/>
                <a:gd name="T74" fmla="*/ 384 w 3788"/>
                <a:gd name="T75" fmla="*/ 1808 h 3252"/>
                <a:gd name="T76" fmla="*/ 324 w 3788"/>
                <a:gd name="T77" fmla="*/ 1772 h 3252"/>
                <a:gd name="T78" fmla="*/ 294 w 3788"/>
                <a:gd name="T79" fmla="*/ 1726 h 3252"/>
                <a:gd name="T80" fmla="*/ 282 w 3788"/>
                <a:gd name="T81" fmla="*/ 1072 h 3252"/>
                <a:gd name="T82" fmla="*/ 294 w 3788"/>
                <a:gd name="T83" fmla="*/ 1016 h 3252"/>
                <a:gd name="T84" fmla="*/ 324 w 3788"/>
                <a:gd name="T85" fmla="*/ 970 h 3252"/>
                <a:gd name="T86" fmla="*/ 370 w 3788"/>
                <a:gd name="T87" fmla="*/ 940 h 3252"/>
                <a:gd name="T88" fmla="*/ 1446 w 3788"/>
                <a:gd name="T89" fmla="*/ 928 h 3252"/>
                <a:gd name="T90" fmla="*/ 1502 w 3788"/>
                <a:gd name="T91" fmla="*/ 940 h 3252"/>
                <a:gd name="T92" fmla="*/ 1548 w 3788"/>
                <a:gd name="T93" fmla="*/ 970 h 3252"/>
                <a:gd name="T94" fmla="*/ 1584 w 3788"/>
                <a:gd name="T95" fmla="*/ 1028 h 3252"/>
                <a:gd name="T96" fmla="*/ 1592 w 3788"/>
                <a:gd name="T97" fmla="*/ 1070 h 3252"/>
                <a:gd name="T98" fmla="*/ 1868 w 3788"/>
                <a:gd name="T99" fmla="*/ 1738 h 3252"/>
                <a:gd name="T100" fmla="*/ 1872 w 3788"/>
                <a:gd name="T101" fmla="*/ 1688 h 3252"/>
                <a:gd name="T102" fmla="*/ 1872 w 3788"/>
                <a:gd name="T103" fmla="*/ 1682 h 3252"/>
                <a:gd name="T104" fmla="*/ 1872 w 3788"/>
                <a:gd name="T105" fmla="*/ 1676 h 3252"/>
                <a:gd name="T106" fmla="*/ 1874 w 3788"/>
                <a:gd name="T107" fmla="*/ 1072 h 3252"/>
                <a:gd name="T108" fmla="*/ 1872 w 3788"/>
                <a:gd name="T109" fmla="*/ 1066 h 3252"/>
                <a:gd name="T110" fmla="*/ 1872 w 3788"/>
                <a:gd name="T111" fmla="*/ 1062 h 3252"/>
                <a:gd name="T112" fmla="*/ 1870 w 3788"/>
                <a:gd name="T113" fmla="*/ 1024 h 3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788" h="3252">
                  <a:moveTo>
                    <a:pt x="3778" y="90"/>
                  </a:moveTo>
                  <a:lnTo>
                    <a:pt x="3778" y="90"/>
                  </a:lnTo>
                  <a:lnTo>
                    <a:pt x="3772" y="76"/>
                  </a:lnTo>
                  <a:lnTo>
                    <a:pt x="3766" y="64"/>
                  </a:lnTo>
                  <a:lnTo>
                    <a:pt x="3758" y="52"/>
                  </a:lnTo>
                  <a:lnTo>
                    <a:pt x="3748" y="42"/>
                  </a:lnTo>
                  <a:lnTo>
                    <a:pt x="3738" y="32"/>
                  </a:lnTo>
                  <a:lnTo>
                    <a:pt x="3728" y="24"/>
                  </a:lnTo>
                  <a:lnTo>
                    <a:pt x="3716" y="18"/>
                  </a:lnTo>
                  <a:lnTo>
                    <a:pt x="3704" y="12"/>
                  </a:lnTo>
                  <a:lnTo>
                    <a:pt x="3692" y="6"/>
                  </a:lnTo>
                  <a:lnTo>
                    <a:pt x="3678" y="4"/>
                  </a:lnTo>
                  <a:lnTo>
                    <a:pt x="3664" y="0"/>
                  </a:lnTo>
                  <a:lnTo>
                    <a:pt x="3652" y="0"/>
                  </a:lnTo>
                  <a:lnTo>
                    <a:pt x="3638" y="0"/>
                  </a:lnTo>
                  <a:lnTo>
                    <a:pt x="3624" y="2"/>
                  </a:lnTo>
                  <a:lnTo>
                    <a:pt x="3610" y="4"/>
                  </a:lnTo>
                  <a:lnTo>
                    <a:pt x="3596" y="10"/>
                  </a:lnTo>
                  <a:lnTo>
                    <a:pt x="1722" y="748"/>
                  </a:lnTo>
                  <a:lnTo>
                    <a:pt x="1722" y="748"/>
                  </a:lnTo>
                  <a:lnTo>
                    <a:pt x="1692" y="726"/>
                  </a:lnTo>
                  <a:lnTo>
                    <a:pt x="1662" y="706"/>
                  </a:lnTo>
                  <a:lnTo>
                    <a:pt x="1630" y="688"/>
                  </a:lnTo>
                  <a:lnTo>
                    <a:pt x="1596" y="674"/>
                  </a:lnTo>
                  <a:lnTo>
                    <a:pt x="1560" y="662"/>
                  </a:lnTo>
                  <a:lnTo>
                    <a:pt x="1524" y="652"/>
                  </a:lnTo>
                  <a:lnTo>
                    <a:pt x="1486" y="648"/>
                  </a:lnTo>
                  <a:lnTo>
                    <a:pt x="1446" y="646"/>
                  </a:lnTo>
                  <a:lnTo>
                    <a:pt x="426" y="646"/>
                  </a:lnTo>
                  <a:lnTo>
                    <a:pt x="426" y="646"/>
                  </a:lnTo>
                  <a:lnTo>
                    <a:pt x="384" y="648"/>
                  </a:lnTo>
                  <a:lnTo>
                    <a:pt x="342" y="654"/>
                  </a:lnTo>
                  <a:lnTo>
                    <a:pt x="300" y="666"/>
                  </a:lnTo>
                  <a:lnTo>
                    <a:pt x="260" y="680"/>
                  </a:lnTo>
                  <a:lnTo>
                    <a:pt x="224" y="698"/>
                  </a:lnTo>
                  <a:lnTo>
                    <a:pt x="188" y="720"/>
                  </a:lnTo>
                  <a:lnTo>
                    <a:pt x="156" y="744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98" y="802"/>
                  </a:lnTo>
                  <a:lnTo>
                    <a:pt x="74" y="834"/>
                  </a:lnTo>
                  <a:lnTo>
                    <a:pt x="52" y="870"/>
                  </a:lnTo>
                  <a:lnTo>
                    <a:pt x="34" y="908"/>
                  </a:lnTo>
                  <a:lnTo>
                    <a:pt x="20" y="946"/>
                  </a:lnTo>
                  <a:lnTo>
                    <a:pt x="8" y="988"/>
                  </a:lnTo>
                  <a:lnTo>
                    <a:pt x="2" y="1030"/>
                  </a:lnTo>
                  <a:lnTo>
                    <a:pt x="0" y="1072"/>
                  </a:lnTo>
                  <a:lnTo>
                    <a:pt x="0" y="1670"/>
                  </a:lnTo>
                  <a:lnTo>
                    <a:pt x="0" y="1670"/>
                  </a:lnTo>
                  <a:lnTo>
                    <a:pt x="2" y="1714"/>
                  </a:lnTo>
                  <a:lnTo>
                    <a:pt x="8" y="1756"/>
                  </a:lnTo>
                  <a:lnTo>
                    <a:pt x="20" y="1796"/>
                  </a:lnTo>
                  <a:lnTo>
                    <a:pt x="34" y="1836"/>
                  </a:lnTo>
                  <a:lnTo>
                    <a:pt x="52" y="1872"/>
                  </a:lnTo>
                  <a:lnTo>
                    <a:pt x="74" y="1908"/>
                  </a:lnTo>
                  <a:lnTo>
                    <a:pt x="98" y="1940"/>
                  </a:lnTo>
                  <a:lnTo>
                    <a:pt x="126" y="1972"/>
                  </a:lnTo>
                  <a:lnTo>
                    <a:pt x="126" y="1972"/>
                  </a:lnTo>
                  <a:lnTo>
                    <a:pt x="154" y="1998"/>
                  </a:lnTo>
                  <a:lnTo>
                    <a:pt x="186" y="2022"/>
                  </a:lnTo>
                  <a:lnTo>
                    <a:pt x="220" y="2042"/>
                  </a:lnTo>
                  <a:lnTo>
                    <a:pt x="254" y="2060"/>
                  </a:lnTo>
                  <a:lnTo>
                    <a:pt x="292" y="2074"/>
                  </a:lnTo>
                  <a:lnTo>
                    <a:pt x="330" y="2086"/>
                  </a:lnTo>
                  <a:lnTo>
                    <a:pt x="370" y="2092"/>
                  </a:lnTo>
                  <a:lnTo>
                    <a:pt x="412" y="2096"/>
                  </a:lnTo>
                  <a:lnTo>
                    <a:pt x="922" y="3160"/>
                  </a:lnTo>
                  <a:lnTo>
                    <a:pt x="922" y="3160"/>
                  </a:lnTo>
                  <a:lnTo>
                    <a:pt x="930" y="3180"/>
                  </a:lnTo>
                  <a:lnTo>
                    <a:pt x="942" y="3198"/>
                  </a:lnTo>
                  <a:lnTo>
                    <a:pt x="956" y="3212"/>
                  </a:lnTo>
                  <a:lnTo>
                    <a:pt x="972" y="3226"/>
                  </a:lnTo>
                  <a:lnTo>
                    <a:pt x="990" y="3238"/>
                  </a:lnTo>
                  <a:lnTo>
                    <a:pt x="1010" y="3246"/>
                  </a:lnTo>
                  <a:lnTo>
                    <a:pt x="1032" y="3250"/>
                  </a:lnTo>
                  <a:lnTo>
                    <a:pt x="1054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76" y="3252"/>
                  </a:lnTo>
                  <a:lnTo>
                    <a:pt x="1690" y="3250"/>
                  </a:lnTo>
                  <a:lnTo>
                    <a:pt x="1706" y="3248"/>
                  </a:lnTo>
                  <a:lnTo>
                    <a:pt x="1720" y="3244"/>
                  </a:lnTo>
                  <a:lnTo>
                    <a:pt x="1736" y="3238"/>
                  </a:lnTo>
                  <a:lnTo>
                    <a:pt x="1736" y="3238"/>
                  </a:lnTo>
                  <a:lnTo>
                    <a:pt x="1748" y="3232"/>
                  </a:lnTo>
                  <a:lnTo>
                    <a:pt x="1760" y="3224"/>
                  </a:lnTo>
                  <a:lnTo>
                    <a:pt x="1770" y="3214"/>
                  </a:lnTo>
                  <a:lnTo>
                    <a:pt x="1780" y="3204"/>
                  </a:lnTo>
                  <a:lnTo>
                    <a:pt x="1788" y="3194"/>
                  </a:lnTo>
                  <a:lnTo>
                    <a:pt x="1796" y="3182"/>
                  </a:lnTo>
                  <a:lnTo>
                    <a:pt x="1802" y="3170"/>
                  </a:lnTo>
                  <a:lnTo>
                    <a:pt x="1808" y="3158"/>
                  </a:lnTo>
                  <a:lnTo>
                    <a:pt x="1812" y="3146"/>
                  </a:lnTo>
                  <a:lnTo>
                    <a:pt x="1814" y="3132"/>
                  </a:lnTo>
                  <a:lnTo>
                    <a:pt x="1816" y="3118"/>
                  </a:lnTo>
                  <a:lnTo>
                    <a:pt x="1816" y="3104"/>
                  </a:lnTo>
                  <a:lnTo>
                    <a:pt x="1814" y="3092"/>
                  </a:lnTo>
                  <a:lnTo>
                    <a:pt x="1812" y="3078"/>
                  </a:lnTo>
                  <a:lnTo>
                    <a:pt x="1808" y="3064"/>
                  </a:lnTo>
                  <a:lnTo>
                    <a:pt x="1802" y="3050"/>
                  </a:lnTo>
                  <a:lnTo>
                    <a:pt x="1344" y="2096"/>
                  </a:lnTo>
                  <a:lnTo>
                    <a:pt x="1446" y="2096"/>
                  </a:lnTo>
                  <a:lnTo>
                    <a:pt x="1446" y="2096"/>
                  </a:lnTo>
                  <a:lnTo>
                    <a:pt x="1480" y="2094"/>
                  </a:lnTo>
                  <a:lnTo>
                    <a:pt x="1512" y="2092"/>
                  </a:lnTo>
                  <a:lnTo>
                    <a:pt x="1544" y="2084"/>
                  </a:lnTo>
                  <a:lnTo>
                    <a:pt x="1576" y="2076"/>
                  </a:lnTo>
                  <a:lnTo>
                    <a:pt x="1606" y="2064"/>
                  </a:lnTo>
                  <a:lnTo>
                    <a:pt x="1636" y="2052"/>
                  </a:lnTo>
                  <a:lnTo>
                    <a:pt x="1664" y="2036"/>
                  </a:lnTo>
                  <a:lnTo>
                    <a:pt x="1690" y="2020"/>
                  </a:lnTo>
                  <a:lnTo>
                    <a:pt x="3588" y="2766"/>
                  </a:lnTo>
                  <a:lnTo>
                    <a:pt x="3588" y="2766"/>
                  </a:lnTo>
                  <a:lnTo>
                    <a:pt x="3602" y="2772"/>
                  </a:lnTo>
                  <a:lnTo>
                    <a:pt x="3616" y="2776"/>
                  </a:lnTo>
                  <a:lnTo>
                    <a:pt x="3632" y="2778"/>
                  </a:lnTo>
                  <a:lnTo>
                    <a:pt x="3648" y="2778"/>
                  </a:lnTo>
                  <a:lnTo>
                    <a:pt x="3648" y="2778"/>
                  </a:lnTo>
                  <a:lnTo>
                    <a:pt x="3662" y="2778"/>
                  </a:lnTo>
                  <a:lnTo>
                    <a:pt x="3676" y="2776"/>
                  </a:lnTo>
                  <a:lnTo>
                    <a:pt x="3690" y="2772"/>
                  </a:lnTo>
                  <a:lnTo>
                    <a:pt x="3702" y="2768"/>
                  </a:lnTo>
                  <a:lnTo>
                    <a:pt x="3714" y="2762"/>
                  </a:lnTo>
                  <a:lnTo>
                    <a:pt x="3726" y="2754"/>
                  </a:lnTo>
                  <a:lnTo>
                    <a:pt x="3738" y="2746"/>
                  </a:lnTo>
                  <a:lnTo>
                    <a:pt x="3748" y="2738"/>
                  </a:lnTo>
                  <a:lnTo>
                    <a:pt x="3756" y="2728"/>
                  </a:lnTo>
                  <a:lnTo>
                    <a:pt x="3764" y="2716"/>
                  </a:lnTo>
                  <a:lnTo>
                    <a:pt x="3772" y="2706"/>
                  </a:lnTo>
                  <a:lnTo>
                    <a:pt x="3778" y="2692"/>
                  </a:lnTo>
                  <a:lnTo>
                    <a:pt x="3782" y="2680"/>
                  </a:lnTo>
                  <a:lnTo>
                    <a:pt x="3786" y="2666"/>
                  </a:lnTo>
                  <a:lnTo>
                    <a:pt x="3788" y="2652"/>
                  </a:lnTo>
                  <a:lnTo>
                    <a:pt x="3788" y="2638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40"/>
                  </a:lnTo>
                  <a:lnTo>
                    <a:pt x="3788" y="128"/>
                  </a:lnTo>
                  <a:lnTo>
                    <a:pt x="3786" y="114"/>
                  </a:lnTo>
                  <a:lnTo>
                    <a:pt x="3782" y="102"/>
                  </a:lnTo>
                  <a:lnTo>
                    <a:pt x="3778" y="90"/>
                  </a:lnTo>
                  <a:lnTo>
                    <a:pt x="3778" y="90"/>
                  </a:lnTo>
                  <a:close/>
                  <a:moveTo>
                    <a:pt x="1452" y="2970"/>
                  </a:moveTo>
                  <a:lnTo>
                    <a:pt x="1334" y="2970"/>
                  </a:lnTo>
                  <a:lnTo>
                    <a:pt x="1036" y="2378"/>
                  </a:lnTo>
                  <a:lnTo>
                    <a:pt x="1104" y="2244"/>
                  </a:lnTo>
                  <a:lnTo>
                    <a:pt x="1452" y="2970"/>
                  </a:lnTo>
                  <a:close/>
                  <a:moveTo>
                    <a:pt x="1592" y="1070"/>
                  </a:moveTo>
                  <a:lnTo>
                    <a:pt x="1592" y="1070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072"/>
                  </a:lnTo>
                  <a:lnTo>
                    <a:pt x="1592" y="1670"/>
                  </a:lnTo>
                  <a:lnTo>
                    <a:pt x="1592" y="1670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2"/>
                  </a:lnTo>
                  <a:lnTo>
                    <a:pt x="1592" y="1674"/>
                  </a:lnTo>
                  <a:lnTo>
                    <a:pt x="1592" y="1674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2" y="1676"/>
                  </a:lnTo>
                  <a:lnTo>
                    <a:pt x="1590" y="1676"/>
                  </a:lnTo>
                  <a:lnTo>
                    <a:pt x="1590" y="1678"/>
                  </a:lnTo>
                  <a:lnTo>
                    <a:pt x="1590" y="1678"/>
                  </a:lnTo>
                  <a:lnTo>
                    <a:pt x="1590" y="1690"/>
                  </a:lnTo>
                  <a:lnTo>
                    <a:pt x="1586" y="1704"/>
                  </a:lnTo>
                  <a:lnTo>
                    <a:pt x="1584" y="1716"/>
                  </a:lnTo>
                  <a:lnTo>
                    <a:pt x="1578" y="1730"/>
                  </a:lnTo>
                  <a:lnTo>
                    <a:pt x="1566" y="1752"/>
                  </a:lnTo>
                  <a:lnTo>
                    <a:pt x="1548" y="1772"/>
                  </a:lnTo>
                  <a:lnTo>
                    <a:pt x="1548" y="1772"/>
                  </a:lnTo>
                  <a:lnTo>
                    <a:pt x="1544" y="1776"/>
                  </a:lnTo>
                  <a:lnTo>
                    <a:pt x="1544" y="1776"/>
                  </a:lnTo>
                  <a:lnTo>
                    <a:pt x="1522" y="1792"/>
                  </a:lnTo>
                  <a:lnTo>
                    <a:pt x="1500" y="1804"/>
                  </a:lnTo>
                  <a:lnTo>
                    <a:pt x="1486" y="1808"/>
                  </a:lnTo>
                  <a:lnTo>
                    <a:pt x="1474" y="1812"/>
                  </a:lnTo>
                  <a:lnTo>
                    <a:pt x="1460" y="1814"/>
                  </a:lnTo>
                  <a:lnTo>
                    <a:pt x="1446" y="1814"/>
                  </a:lnTo>
                  <a:lnTo>
                    <a:pt x="1122" y="1814"/>
                  </a:lnTo>
                  <a:lnTo>
                    <a:pt x="500" y="1814"/>
                  </a:lnTo>
                  <a:lnTo>
                    <a:pt x="426" y="1814"/>
                  </a:lnTo>
                  <a:lnTo>
                    <a:pt x="426" y="1814"/>
                  </a:lnTo>
                  <a:lnTo>
                    <a:pt x="412" y="1814"/>
                  </a:lnTo>
                  <a:lnTo>
                    <a:pt x="398" y="1812"/>
                  </a:lnTo>
                  <a:lnTo>
                    <a:pt x="384" y="1808"/>
                  </a:lnTo>
                  <a:lnTo>
                    <a:pt x="370" y="1802"/>
                  </a:lnTo>
                  <a:lnTo>
                    <a:pt x="358" y="1796"/>
                  </a:lnTo>
                  <a:lnTo>
                    <a:pt x="346" y="1790"/>
                  </a:lnTo>
                  <a:lnTo>
                    <a:pt x="334" y="1782"/>
                  </a:lnTo>
                  <a:lnTo>
                    <a:pt x="324" y="1772"/>
                  </a:lnTo>
                  <a:lnTo>
                    <a:pt x="324" y="1772"/>
                  </a:lnTo>
                  <a:lnTo>
                    <a:pt x="316" y="1762"/>
                  </a:lnTo>
                  <a:lnTo>
                    <a:pt x="306" y="1750"/>
                  </a:lnTo>
                  <a:lnTo>
                    <a:pt x="300" y="1738"/>
                  </a:lnTo>
                  <a:lnTo>
                    <a:pt x="294" y="1726"/>
                  </a:lnTo>
                  <a:lnTo>
                    <a:pt x="288" y="1712"/>
                  </a:lnTo>
                  <a:lnTo>
                    <a:pt x="284" y="1698"/>
                  </a:lnTo>
                  <a:lnTo>
                    <a:pt x="282" y="1684"/>
                  </a:lnTo>
                  <a:lnTo>
                    <a:pt x="282" y="1670"/>
                  </a:lnTo>
                  <a:lnTo>
                    <a:pt x="282" y="1072"/>
                  </a:lnTo>
                  <a:lnTo>
                    <a:pt x="282" y="1072"/>
                  </a:lnTo>
                  <a:lnTo>
                    <a:pt x="282" y="1058"/>
                  </a:lnTo>
                  <a:lnTo>
                    <a:pt x="284" y="1044"/>
                  </a:lnTo>
                  <a:lnTo>
                    <a:pt x="288" y="1030"/>
                  </a:lnTo>
                  <a:lnTo>
                    <a:pt x="294" y="1016"/>
                  </a:lnTo>
                  <a:lnTo>
                    <a:pt x="300" y="1004"/>
                  </a:lnTo>
                  <a:lnTo>
                    <a:pt x="306" y="992"/>
                  </a:lnTo>
                  <a:lnTo>
                    <a:pt x="316" y="98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24" y="970"/>
                  </a:lnTo>
                  <a:lnTo>
                    <a:pt x="334" y="962"/>
                  </a:lnTo>
                  <a:lnTo>
                    <a:pt x="346" y="952"/>
                  </a:lnTo>
                  <a:lnTo>
                    <a:pt x="358" y="946"/>
                  </a:lnTo>
                  <a:lnTo>
                    <a:pt x="370" y="940"/>
                  </a:lnTo>
                  <a:lnTo>
                    <a:pt x="384" y="934"/>
                  </a:lnTo>
                  <a:lnTo>
                    <a:pt x="398" y="930"/>
                  </a:lnTo>
                  <a:lnTo>
                    <a:pt x="412" y="928"/>
                  </a:lnTo>
                  <a:lnTo>
                    <a:pt x="426" y="928"/>
                  </a:lnTo>
                  <a:lnTo>
                    <a:pt x="1446" y="928"/>
                  </a:lnTo>
                  <a:lnTo>
                    <a:pt x="1446" y="928"/>
                  </a:lnTo>
                  <a:lnTo>
                    <a:pt x="1462" y="928"/>
                  </a:lnTo>
                  <a:lnTo>
                    <a:pt x="1476" y="930"/>
                  </a:lnTo>
                  <a:lnTo>
                    <a:pt x="1490" y="934"/>
                  </a:lnTo>
                  <a:lnTo>
                    <a:pt x="1502" y="940"/>
                  </a:lnTo>
                  <a:lnTo>
                    <a:pt x="1516" y="946"/>
                  </a:lnTo>
                  <a:lnTo>
                    <a:pt x="1528" y="952"/>
                  </a:lnTo>
                  <a:lnTo>
                    <a:pt x="1538" y="960"/>
                  </a:lnTo>
                  <a:lnTo>
                    <a:pt x="1548" y="970"/>
                  </a:lnTo>
                  <a:lnTo>
                    <a:pt x="1548" y="970"/>
                  </a:lnTo>
                  <a:lnTo>
                    <a:pt x="1558" y="980"/>
                  </a:lnTo>
                  <a:lnTo>
                    <a:pt x="1566" y="992"/>
                  </a:lnTo>
                  <a:lnTo>
                    <a:pt x="1572" y="1002"/>
                  </a:lnTo>
                  <a:lnTo>
                    <a:pt x="1580" y="1014"/>
                  </a:lnTo>
                  <a:lnTo>
                    <a:pt x="1584" y="1028"/>
                  </a:lnTo>
                  <a:lnTo>
                    <a:pt x="1588" y="1040"/>
                  </a:lnTo>
                  <a:lnTo>
                    <a:pt x="1590" y="1054"/>
                  </a:lnTo>
                  <a:lnTo>
                    <a:pt x="1592" y="1070"/>
                  </a:lnTo>
                  <a:lnTo>
                    <a:pt x="1592" y="1070"/>
                  </a:lnTo>
                  <a:lnTo>
                    <a:pt x="1592" y="1070"/>
                  </a:lnTo>
                  <a:close/>
                  <a:moveTo>
                    <a:pt x="3506" y="2432"/>
                  </a:moveTo>
                  <a:lnTo>
                    <a:pt x="1858" y="1782"/>
                  </a:lnTo>
                  <a:lnTo>
                    <a:pt x="1858" y="1782"/>
                  </a:lnTo>
                  <a:lnTo>
                    <a:pt x="1864" y="1760"/>
                  </a:lnTo>
                  <a:lnTo>
                    <a:pt x="1868" y="1738"/>
                  </a:lnTo>
                  <a:lnTo>
                    <a:pt x="1870" y="1714"/>
                  </a:lnTo>
                  <a:lnTo>
                    <a:pt x="1872" y="1692"/>
                  </a:lnTo>
                  <a:lnTo>
                    <a:pt x="1872" y="1692"/>
                  </a:lnTo>
                  <a:lnTo>
                    <a:pt x="1872" y="1690"/>
                  </a:lnTo>
                  <a:lnTo>
                    <a:pt x="1872" y="1688"/>
                  </a:lnTo>
                  <a:lnTo>
                    <a:pt x="1872" y="1686"/>
                  </a:lnTo>
                  <a:lnTo>
                    <a:pt x="1872" y="1686"/>
                  </a:lnTo>
                  <a:lnTo>
                    <a:pt x="1872" y="1684"/>
                  </a:lnTo>
                  <a:lnTo>
                    <a:pt x="1872" y="1682"/>
                  </a:lnTo>
                  <a:lnTo>
                    <a:pt x="1872" y="1682"/>
                  </a:lnTo>
                  <a:lnTo>
                    <a:pt x="1872" y="1678"/>
                  </a:lnTo>
                  <a:lnTo>
                    <a:pt x="1872" y="1678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2" y="1676"/>
                  </a:lnTo>
                  <a:lnTo>
                    <a:pt x="1874" y="1674"/>
                  </a:lnTo>
                  <a:lnTo>
                    <a:pt x="1874" y="1672"/>
                  </a:lnTo>
                  <a:lnTo>
                    <a:pt x="1874" y="1670"/>
                  </a:lnTo>
                  <a:lnTo>
                    <a:pt x="1874" y="1072"/>
                  </a:lnTo>
                  <a:lnTo>
                    <a:pt x="1874" y="1072"/>
                  </a:lnTo>
                  <a:lnTo>
                    <a:pt x="1874" y="1070"/>
                  </a:lnTo>
                  <a:lnTo>
                    <a:pt x="1874" y="1070"/>
                  </a:lnTo>
                  <a:lnTo>
                    <a:pt x="1872" y="1068"/>
                  </a:lnTo>
                  <a:lnTo>
                    <a:pt x="1872" y="1068"/>
                  </a:lnTo>
                  <a:lnTo>
                    <a:pt x="1872" y="1066"/>
                  </a:lnTo>
                  <a:lnTo>
                    <a:pt x="1872" y="1066"/>
                  </a:lnTo>
                  <a:lnTo>
                    <a:pt x="1872" y="1064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2"/>
                  </a:lnTo>
                  <a:lnTo>
                    <a:pt x="1872" y="1060"/>
                  </a:lnTo>
                  <a:lnTo>
                    <a:pt x="1872" y="1056"/>
                  </a:lnTo>
                  <a:lnTo>
                    <a:pt x="1872" y="1054"/>
                  </a:lnTo>
                  <a:lnTo>
                    <a:pt x="1872" y="1054"/>
                  </a:lnTo>
                  <a:lnTo>
                    <a:pt x="1870" y="1024"/>
                  </a:lnTo>
                  <a:lnTo>
                    <a:pt x="1866" y="994"/>
                  </a:lnTo>
                  <a:lnTo>
                    <a:pt x="3506" y="348"/>
                  </a:lnTo>
                  <a:lnTo>
                    <a:pt x="3506" y="24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9">
              <a:extLst>
                <a:ext uri="{FF2B5EF4-FFF2-40B4-BE49-F238E27FC236}">
                  <a16:creationId xmlns:a16="http://schemas.microsoft.com/office/drawing/2014/main" id="{363161EB-EFBF-4476-A3D1-C88F5A8F89E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7048" y="3462357"/>
              <a:ext cx="156965" cy="74316"/>
            </a:xfrm>
            <a:custGeom>
              <a:avLst/>
              <a:gdLst>
                <a:gd name="T0" fmla="*/ 1394 w 1394"/>
                <a:gd name="T1" fmla="*/ 0 h 660"/>
                <a:gd name="T2" fmla="*/ 0 w 1394"/>
                <a:gd name="T3" fmla="*/ 472 h 660"/>
                <a:gd name="T4" fmla="*/ 0 w 1394"/>
                <a:gd name="T5" fmla="*/ 660 h 660"/>
                <a:gd name="T6" fmla="*/ 1394 w 1394"/>
                <a:gd name="T7" fmla="*/ 416 h 660"/>
                <a:gd name="T8" fmla="*/ 1394 w 1394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4" h="660">
                  <a:moveTo>
                    <a:pt x="1394" y="0"/>
                  </a:moveTo>
                  <a:lnTo>
                    <a:pt x="0" y="472"/>
                  </a:lnTo>
                  <a:lnTo>
                    <a:pt x="0" y="660"/>
                  </a:lnTo>
                  <a:lnTo>
                    <a:pt x="1394" y="416"/>
                  </a:lnTo>
                  <a:lnTo>
                    <a:pt x="1394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3A359403-E64A-41B8-84D0-09E14419810C}"/>
              </a:ext>
            </a:extLst>
          </p:cNvPr>
          <p:cNvSpPr/>
          <p:nvPr/>
        </p:nvSpPr>
        <p:spPr>
          <a:xfrm>
            <a:off x="8377609" y="3313163"/>
            <a:ext cx="3199917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Ενίσχυση κονδυλίων για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(€23 εκ. ΕΟΤ)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 err="1">
                <a:solidFill>
                  <a:schemeClr val="bg1"/>
                </a:solidFill>
                <a:sym typeface="Georgia"/>
              </a:rPr>
              <a:t>Στοχευμένη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διαφήμιση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στις αγορές που ανοίγουμε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bg1"/>
                </a:solidFill>
                <a:sym typeface="Georgia"/>
              </a:rPr>
              <a:t>Brand 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καμπάνια </a:t>
            </a:r>
            <a:r>
              <a:rPr lang="el-GR" dirty="0">
                <a:solidFill>
                  <a:schemeClr val="bg1"/>
                </a:solidFill>
                <a:sym typeface="Georgia"/>
              </a:rPr>
              <a:t>και  καμπάνια κρατήσεων 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b="1" dirty="0">
                <a:solidFill>
                  <a:schemeClr val="bg1"/>
                </a:solidFill>
                <a:sym typeface="Georgia"/>
              </a:rPr>
              <a:t>Συν-διαφήμιση</a:t>
            </a:r>
            <a:endParaRPr lang="el-GR" dirty="0">
              <a:solidFill>
                <a:schemeClr val="bg1"/>
              </a:solidFill>
              <a:sym typeface="Georgia"/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  <a:sym typeface="Georgia"/>
              </a:rPr>
              <a:t>Συμφωνίες με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Tour</a:t>
            </a:r>
            <a:r>
              <a:rPr lang="el-GR" b="1" dirty="0">
                <a:solidFill>
                  <a:schemeClr val="bg1"/>
                </a:solidFill>
                <a:sym typeface="Georgia"/>
              </a:rPr>
              <a:t> </a:t>
            </a:r>
            <a:r>
              <a:rPr lang="en-US" b="1" dirty="0">
                <a:solidFill>
                  <a:schemeClr val="bg1"/>
                </a:solidFill>
                <a:sym typeface="Georgia"/>
              </a:rPr>
              <a:t>Operators</a:t>
            </a:r>
            <a:endParaRPr lang="el-GR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44E0B8F0-BCFE-48EF-B489-3814694BBE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358166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954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</a:t>
            </a:r>
          </a:p>
        </p:txBody>
      </p:sp>
      <p:sp>
        <p:nvSpPr>
          <p:cNvPr id="6" name="Google Shape;1808;p278">
            <a:extLst>
              <a:ext uri="{FF2B5EF4-FFF2-40B4-BE49-F238E27FC236}">
                <a16:creationId xmlns:a16="http://schemas.microsoft.com/office/drawing/2014/main" id="{672D6E58-0CBC-4F5B-91DF-6AF5850AABC3}"/>
              </a:ext>
            </a:extLst>
          </p:cNvPr>
          <p:cNvSpPr txBox="1"/>
          <p:nvPr/>
        </p:nvSpPr>
        <p:spPr>
          <a:xfrm>
            <a:off x="1233715" y="3362102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λειτουργίας </a:t>
            </a:r>
            <a:r>
              <a:rPr lang="el-GR" dirty="0"/>
              <a:t>των τουριστικών επιχειρήσεω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8" name="Google Shape;1808;p278">
            <a:extLst>
              <a:ext uri="{FF2B5EF4-FFF2-40B4-BE49-F238E27FC236}">
                <a16:creationId xmlns:a16="http://schemas.microsoft.com/office/drawing/2014/main" id="{A13E048B-52CE-4694-8116-69283EDCA559}"/>
              </a:ext>
            </a:extLst>
          </p:cNvPr>
          <p:cNvSpPr txBox="1"/>
          <p:nvPr/>
        </p:nvSpPr>
        <p:spPr>
          <a:xfrm>
            <a:off x="1190046" y="5022229"/>
            <a:ext cx="4652662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Στήριξη επιχειρήσεων και ενίσχυση </a:t>
            </a:r>
            <a:r>
              <a:rPr lang="el-GR" dirty="0"/>
              <a:t>εσωτερικού τουρισμού 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9" name="Google Shape;1808;p278">
            <a:extLst>
              <a:ext uri="{FF2B5EF4-FFF2-40B4-BE49-F238E27FC236}">
                <a16:creationId xmlns:a16="http://schemas.microsoft.com/office/drawing/2014/main" id="{B47CBC40-F177-40C2-97E7-C5433A313EAC}"/>
              </a:ext>
            </a:extLst>
          </p:cNvPr>
          <p:cNvSpPr txBox="1"/>
          <p:nvPr/>
        </p:nvSpPr>
        <p:spPr>
          <a:xfrm>
            <a:off x="6493824" y="5022229"/>
            <a:ext cx="481906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Επικοινωνία </a:t>
            </a:r>
            <a:r>
              <a:rPr lang="el-GR" dirty="0"/>
              <a:t>και ενίσχυση αισθήματος ασφάλειας των τουρισ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0" name="Google Shape;1808;p278">
            <a:extLst>
              <a:ext uri="{FF2B5EF4-FFF2-40B4-BE49-F238E27FC236}">
                <a16:creationId xmlns:a16="http://schemas.microsoft.com/office/drawing/2014/main" id="{7818DD9D-F085-4B0A-BD7A-C6C6B953FA6D}"/>
              </a:ext>
            </a:extLst>
          </p:cNvPr>
          <p:cNvSpPr txBox="1"/>
          <p:nvPr/>
        </p:nvSpPr>
        <p:spPr>
          <a:xfrm>
            <a:off x="8093751" y="1736233"/>
            <a:ext cx="337775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Διασφάλιση ροών τουριστών από το εξωτερικό</a:t>
            </a:r>
            <a:endParaRPr lang="el-GR" sz="1400" b="1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1" name="Google Shape;1808;p278">
            <a:extLst>
              <a:ext uri="{FF2B5EF4-FFF2-40B4-BE49-F238E27FC236}">
                <a16:creationId xmlns:a16="http://schemas.microsoft.com/office/drawing/2014/main" id="{FCD2FEE7-43EC-4576-B456-2ABF585199D9}"/>
              </a:ext>
            </a:extLst>
          </p:cNvPr>
          <p:cNvSpPr txBox="1"/>
          <p:nvPr/>
        </p:nvSpPr>
        <p:spPr>
          <a:xfrm>
            <a:off x="6493824" y="3329481"/>
            <a:ext cx="4820219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/>
              <a:t>Πρωτόκολλα </a:t>
            </a:r>
            <a:r>
              <a:rPr lang="el-GR" b="1" dirty="0" err="1"/>
              <a:t>ταξιδίου</a:t>
            </a:r>
            <a:r>
              <a:rPr lang="el-GR" b="1" dirty="0"/>
              <a:t> </a:t>
            </a:r>
            <a:r>
              <a:rPr lang="el-GR" dirty="0"/>
              <a:t>και μεταφοράς επισκεπτών</a:t>
            </a:r>
            <a:endParaRPr lang="el-GR" sz="1400" dirty="0">
              <a:latin typeface="Helvetica Neue" panose="020B0604020202020204" charset="0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2" name="Google Shape;1808;p278">
            <a:extLst>
              <a:ext uri="{FF2B5EF4-FFF2-40B4-BE49-F238E27FC236}">
                <a16:creationId xmlns:a16="http://schemas.microsoft.com/office/drawing/2014/main" id="{3409F0BD-BA68-4D2D-9C09-931626CAD712}"/>
              </a:ext>
            </a:extLst>
          </p:cNvPr>
          <p:cNvSpPr txBox="1"/>
          <p:nvPr/>
        </p:nvSpPr>
        <p:spPr>
          <a:xfrm>
            <a:off x="1180395" y="1746378"/>
            <a:ext cx="2477205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72000" bIns="80669" anchor="ctr" anchorCtr="0">
            <a:noAutofit/>
          </a:bodyPr>
          <a:lstStyle/>
          <a:p>
            <a:pPr marL="269875"/>
            <a:r>
              <a:rPr lang="el-GR" b="1" dirty="0">
                <a:solidFill>
                  <a:prstClr val="black"/>
                </a:solidFill>
                <a:cs typeface="Arial"/>
              </a:rPr>
              <a:t>Ρεαλιστικό χρονοδιάγραμμα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6C7EBE5-C8B2-4DC2-92AE-CD94986089D9}"/>
              </a:ext>
            </a:extLst>
          </p:cNvPr>
          <p:cNvSpPr/>
          <p:nvPr/>
        </p:nvSpPr>
        <p:spPr>
          <a:xfrm>
            <a:off x="906367" y="1611396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A7A26FE8-3726-4F6E-B634-C5E8BEC3DBAE}"/>
              </a:ext>
            </a:extLst>
          </p:cNvPr>
          <p:cNvSpPr/>
          <p:nvPr/>
        </p:nvSpPr>
        <p:spPr>
          <a:xfrm>
            <a:off x="949630" y="324063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A08B204D-C761-4135-8F08-F44918F2609B}"/>
              </a:ext>
            </a:extLst>
          </p:cNvPr>
          <p:cNvSpPr/>
          <p:nvPr/>
        </p:nvSpPr>
        <p:spPr>
          <a:xfrm>
            <a:off x="6308744" y="3252210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16" name="Google Shape;1808;p278">
            <a:extLst>
              <a:ext uri="{FF2B5EF4-FFF2-40B4-BE49-F238E27FC236}">
                <a16:creationId xmlns:a16="http://schemas.microsoft.com/office/drawing/2014/main" id="{AE110156-1AC0-4AA2-8FB8-2B51B9A2BF1B}"/>
              </a:ext>
            </a:extLst>
          </p:cNvPr>
          <p:cNvSpPr txBox="1"/>
          <p:nvPr/>
        </p:nvSpPr>
        <p:spPr>
          <a:xfrm>
            <a:off x="4588232" y="1736233"/>
            <a:ext cx="3134474" cy="900000"/>
          </a:xfrm>
          <a:prstGeom prst="rect">
            <a:avLst/>
          </a:prstGeom>
          <a:solidFill>
            <a:srgbClr val="DEECEF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269875">
              <a:buSzPts val="1800"/>
            </a:pPr>
            <a:r>
              <a:rPr lang="el-GR" b="1" dirty="0">
                <a:sym typeface="Helvetica Neue"/>
              </a:rPr>
              <a:t>Ικανότητα διαχείρισης κρούσματος στους προορισμούς</a:t>
            </a:r>
            <a:endParaRPr lang="el-GR" dirty="0">
              <a:sym typeface="Helvetica Neue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F132CEC-41DF-4881-93C4-ACB53528A0A3}"/>
              </a:ext>
            </a:extLst>
          </p:cNvPr>
          <p:cNvSpPr/>
          <p:nvPr/>
        </p:nvSpPr>
        <p:spPr>
          <a:xfrm>
            <a:off x="4409434" y="1611043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253C89AB-9550-4D07-AEC3-4C4CDFFFE0EA}"/>
              </a:ext>
            </a:extLst>
          </p:cNvPr>
          <p:cNvSpPr/>
          <p:nvPr/>
        </p:nvSpPr>
        <p:spPr>
          <a:xfrm>
            <a:off x="1019203" y="4788064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769446B9-A831-4375-AB98-F7F59962D704}"/>
              </a:ext>
            </a:extLst>
          </p:cNvPr>
          <p:cNvSpPr/>
          <p:nvPr/>
        </p:nvSpPr>
        <p:spPr>
          <a:xfrm>
            <a:off x="7922909" y="1558968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445463E-D94C-4573-8F71-9236DED853CA}"/>
              </a:ext>
            </a:extLst>
          </p:cNvPr>
          <p:cNvSpPr/>
          <p:nvPr/>
        </p:nvSpPr>
        <p:spPr>
          <a:xfrm rot="16200000">
            <a:off x="-131578" y="1996748"/>
            <a:ext cx="140173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sz="1600" dirty="0">
                <a:ea typeface="Georgia"/>
                <a:cs typeface="Georgia"/>
                <a:sym typeface="Georgia"/>
              </a:rPr>
              <a:t>Προϋποθέσεις</a:t>
            </a:r>
            <a:endParaRPr lang="el-GR" sz="1600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B95E7FCE-CA52-4763-9421-F74D5A868697}"/>
              </a:ext>
            </a:extLst>
          </p:cNvPr>
          <p:cNvSpPr/>
          <p:nvPr/>
        </p:nvSpPr>
        <p:spPr>
          <a:xfrm rot="16200000">
            <a:off x="42315" y="3616669"/>
            <a:ext cx="1198470" cy="48308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Κανόνες</a:t>
            </a:r>
          </a:p>
          <a:p>
            <a:pPr algn="ctr">
              <a:lnSpc>
                <a:spcPts val="1500"/>
              </a:lnSpc>
            </a:pPr>
            <a:r>
              <a:rPr lang="el-GR" sz="1600" dirty="0">
                <a:sym typeface="Georgia"/>
              </a:rPr>
              <a:t>Λειτουργίας</a:t>
            </a:r>
            <a:endParaRPr lang="el-GR" sz="16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94273D9-DC5A-4918-9A02-6714FC6543A4}"/>
              </a:ext>
            </a:extLst>
          </p:cNvPr>
          <p:cNvSpPr/>
          <p:nvPr/>
        </p:nvSpPr>
        <p:spPr>
          <a:xfrm rot="16200000">
            <a:off x="-30896" y="5204958"/>
            <a:ext cx="1446586" cy="584775"/>
          </a:xfrm>
          <a:prstGeom prst="rect">
            <a:avLst/>
          </a:prstGeom>
          <a:solidFill>
            <a:schemeClr val="bg1">
              <a:alpha val="68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l-GR" sz="1600" dirty="0">
                <a:sym typeface="Georgia"/>
              </a:rPr>
              <a:t>Ενεργοποίηση Αγοράς</a:t>
            </a:r>
            <a:endParaRPr lang="el-GR" sz="1600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97B6C6BD-F45D-457D-AEB1-283FF04C3B08}"/>
              </a:ext>
            </a:extLst>
          </p:cNvPr>
          <p:cNvCxnSpPr/>
          <p:nvPr/>
        </p:nvCxnSpPr>
        <p:spPr>
          <a:xfrm>
            <a:off x="379749" y="3180970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28A0D631-2CD8-43DC-AC10-FDEC0F479DA1}"/>
              </a:ext>
            </a:extLst>
          </p:cNvPr>
          <p:cNvCxnSpPr/>
          <p:nvPr/>
        </p:nvCxnSpPr>
        <p:spPr>
          <a:xfrm>
            <a:off x="411677" y="4734296"/>
            <a:ext cx="11052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15">
            <a:extLst>
              <a:ext uri="{FF2B5EF4-FFF2-40B4-BE49-F238E27FC236}">
                <a16:creationId xmlns:a16="http://schemas.microsoft.com/office/drawing/2014/main" id="{E613CF05-C98C-4855-8726-BF02A0488B53}"/>
              </a:ext>
            </a:extLst>
          </p:cNvPr>
          <p:cNvSpPr/>
          <p:nvPr/>
        </p:nvSpPr>
        <p:spPr>
          <a:xfrm>
            <a:off x="6308744" y="4947707"/>
            <a:ext cx="448090" cy="448090"/>
          </a:xfrm>
          <a:prstGeom prst="ellipse">
            <a:avLst/>
          </a:prstGeom>
          <a:solidFill>
            <a:srgbClr val="013476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>
              <a:buClrTx/>
            </a:pPr>
            <a:r>
              <a:rPr lang="el-GR" sz="1100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26" name="Slide Number Placeholder 3">
            <a:extLst>
              <a:ext uri="{FF2B5EF4-FFF2-40B4-BE49-F238E27FC236}">
                <a16:creationId xmlns:a16="http://schemas.microsoft.com/office/drawing/2014/main" id="{6D03887B-8B0A-4E76-AA13-6345D39941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15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690917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63CC8B8F-1493-4B27-9D43-168E6C3FB59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pic>
          <p:nvPicPr>
            <p:cNvPr id="6" name="Picture 5" descr="A close up of a logo&#10;&#10;Description automatically generated">
              <a:extLst>
                <a:ext uri="{FF2B5EF4-FFF2-40B4-BE49-F238E27FC236}">
                  <a16:creationId xmlns:a16="http://schemas.microsoft.com/office/drawing/2014/main" id="{871F6690-D96F-A84F-8FC5-868AD0558E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12192000" cy="6858000"/>
            </a:xfrm>
            <a:prstGeom prst="rect">
              <a:avLst/>
            </a:prstGeom>
          </p:spPr>
        </p:pic>
        <p:sp>
          <p:nvSpPr>
            <p:cNvPr id="4" name="Rectangle: Diagonal Corners Snipped 3">
              <a:extLst>
                <a:ext uri="{FF2B5EF4-FFF2-40B4-BE49-F238E27FC236}">
                  <a16:creationId xmlns:a16="http://schemas.microsoft.com/office/drawing/2014/main" id="{14142FEC-0363-491F-8FF0-2B96DDFEF22C}"/>
                </a:ext>
              </a:extLst>
            </p:cNvPr>
            <p:cNvSpPr/>
            <p:nvPr/>
          </p:nvSpPr>
          <p:spPr>
            <a:xfrm>
              <a:off x="1063358" y="5513438"/>
              <a:ext cx="3126035" cy="302272"/>
            </a:xfrm>
            <a:prstGeom prst="snip2DiagRect">
              <a:avLst/>
            </a:prstGeom>
            <a:solidFill>
              <a:srgbClr val="013476"/>
            </a:solidFill>
            <a:ln>
              <a:noFill/>
            </a:ln>
          </p:spPr>
          <p:txBody>
            <a:bodyPr spcFirstLastPara="1" wrap="square" lIns="111176" tIns="15860" rIns="111176" bIns="1586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Georgia"/>
                </a:rPr>
                <a:t>Κυβέρνηση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892121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: Diagonal Corners Snipped 1">
            <a:extLst>
              <a:ext uri="{FF2B5EF4-FFF2-40B4-BE49-F238E27FC236}">
                <a16:creationId xmlns:a16="http://schemas.microsoft.com/office/drawing/2014/main" id="{1A311278-BB8C-49F5-973E-CE40320D498E}"/>
              </a:ext>
            </a:extLst>
          </p:cNvPr>
          <p:cNvSpPr/>
          <p:nvPr/>
        </p:nvSpPr>
        <p:spPr>
          <a:xfrm>
            <a:off x="656945" y="1619308"/>
            <a:ext cx="6054573" cy="777663"/>
          </a:xfrm>
          <a:prstGeom prst="snip2DiagRect">
            <a:avLst/>
          </a:prstGeom>
          <a:noFill/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4000" b="1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  <a:cs typeface="Roboto Regular" charset="0"/>
              </a:rPr>
              <a:t>Τουρισμός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D63DD8B3-68DB-440B-AA35-5A348B69D5F2}"/>
              </a:ext>
            </a:extLst>
          </p:cNvPr>
          <p:cNvSpPr txBox="1">
            <a:spLocks/>
          </p:cNvSpPr>
          <p:nvPr/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543827-C2B0-46E7-89AA-B56A23F9ACD0}" type="slidenum">
              <a:rPr lang="en-US" sz="1400" smtClean="0">
                <a:solidFill>
                  <a:schemeClr val="bg1"/>
                </a:solidFill>
              </a:rPr>
              <a:pPr algn="r"/>
              <a:t>2</a:t>
            </a:fld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EA94416-AEAA-46B3-93E4-CCD54705BDDB}"/>
              </a:ext>
            </a:extLst>
          </p:cNvPr>
          <p:cNvSpPr/>
          <p:nvPr/>
        </p:nvSpPr>
        <p:spPr>
          <a:xfrm>
            <a:off x="933906" y="4963803"/>
            <a:ext cx="135357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l-GR" dirty="0">
                <a:solidFill>
                  <a:schemeClr val="bg1"/>
                </a:solidFill>
                <a:cs typeface="Arial"/>
                <a:sym typeface="Arial"/>
              </a:rPr>
              <a:t>Χ. Θεοχάρης</a:t>
            </a:r>
            <a:endParaRPr lang="el-G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832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Η σημασία του τουρισμού για τη χώρα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189291" y="1713790"/>
            <a:ext cx="4411485" cy="2130875"/>
          </a:xfrm>
          <a:prstGeom prst="snip2DiagRect">
            <a:avLst/>
          </a:prstGeom>
          <a:solidFill>
            <a:srgbClr val="417B8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52" name="Rectangle: Diagonal Corners Snipped 51">
            <a:extLst>
              <a:ext uri="{FF2B5EF4-FFF2-40B4-BE49-F238E27FC236}">
                <a16:creationId xmlns:a16="http://schemas.microsoft.com/office/drawing/2014/main" id="{BD3487B0-FFEF-4813-BC0D-FF9F475F9C77}"/>
              </a:ext>
            </a:extLst>
          </p:cNvPr>
          <p:cNvSpPr/>
          <p:nvPr/>
        </p:nvSpPr>
        <p:spPr>
          <a:xfrm>
            <a:off x="6385065" y="4167905"/>
            <a:ext cx="4411486" cy="2140640"/>
          </a:xfrm>
          <a:prstGeom prst="snip2DiagRect">
            <a:avLst/>
          </a:prstGeom>
          <a:solidFill>
            <a:srgbClr val="D6DCE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0C735309-100C-4EDB-8E18-34FB21932614}"/>
              </a:ext>
            </a:extLst>
          </p:cNvPr>
          <p:cNvSpPr/>
          <p:nvPr/>
        </p:nvSpPr>
        <p:spPr>
          <a:xfrm>
            <a:off x="6481939" y="4578942"/>
            <a:ext cx="4217739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latin typeface="Calibri" panose="020F0502020204030204" pitchFamily="34" charset="0"/>
                <a:ea typeface="Times New Roman" panose="02020603050405020304" pitchFamily="18" charset="0"/>
              </a:rPr>
              <a:t>Συνεισφορά στην απασχόληση</a:t>
            </a:r>
            <a:endParaRPr lang="en-US" sz="2400" b="1" dirty="0"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latin typeface="Calibri" panose="020F0502020204030204" pitchFamily="34" charset="0"/>
                <a:ea typeface="Times New Roman" panose="02020603050405020304" pitchFamily="18" charset="0"/>
              </a:rPr>
              <a:t>360.000 εργαζόμενοι</a:t>
            </a:r>
          </a:p>
          <a:p>
            <a:pPr algn="ctr"/>
            <a:r>
              <a:rPr lang="el-GR" sz="1400" dirty="0">
                <a:latin typeface="Calibri" panose="020F0502020204030204" pitchFamily="34" charset="0"/>
                <a:ea typeface="Times New Roman" panose="02020603050405020304" pitchFamily="18" charset="0"/>
              </a:rPr>
              <a:t>(ΕΡΓΑΝΗ: απασχολούμενοι σε καταλύματα και εστίαση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C67C1D-0334-41DD-98FB-A9CC2109D2CB}"/>
              </a:ext>
            </a:extLst>
          </p:cNvPr>
          <p:cNvSpPr/>
          <p:nvPr/>
        </p:nvSpPr>
        <p:spPr>
          <a:xfrm>
            <a:off x="1189291" y="2124827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ισπράξει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€19 δισ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7E943AFB-CEC1-442A-8AF8-2F49A8316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3</a:t>
            </a:fld>
            <a:endParaRPr lang="en-US" sz="1400" dirty="0">
              <a:latin typeface="+mn-lt"/>
            </a:endParaRPr>
          </a:p>
        </p:txBody>
      </p:sp>
      <p:sp>
        <p:nvSpPr>
          <p:cNvPr id="9" name="Rectangle: Diagonal Corners Snipped 8">
            <a:extLst>
              <a:ext uri="{FF2B5EF4-FFF2-40B4-BE49-F238E27FC236}">
                <a16:creationId xmlns:a16="http://schemas.microsoft.com/office/drawing/2014/main" id="{7EC4DC10-BC2B-4E90-9B54-B50CEC1A4E7E}"/>
              </a:ext>
            </a:extLst>
          </p:cNvPr>
          <p:cNvSpPr/>
          <p:nvPr/>
        </p:nvSpPr>
        <p:spPr>
          <a:xfrm>
            <a:off x="1286165" y="4014580"/>
            <a:ext cx="4411485" cy="2130875"/>
          </a:xfrm>
          <a:prstGeom prst="snip2DiagRect">
            <a:avLst/>
          </a:prstGeom>
          <a:solidFill>
            <a:srgbClr val="9CC7CE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8711761-98DE-426B-9E4C-FBDB7BF7C6FC}"/>
              </a:ext>
            </a:extLst>
          </p:cNvPr>
          <p:cNvSpPr/>
          <p:nvPr/>
        </p:nvSpPr>
        <p:spPr>
          <a:xfrm>
            <a:off x="1286165" y="4425617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Πρώτο δίμηνο 2020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+23 %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  <p:sp>
        <p:nvSpPr>
          <p:cNvPr id="14" name="Rectangle: Diagonal Corners Snipped 13">
            <a:extLst>
              <a:ext uri="{FF2B5EF4-FFF2-40B4-BE49-F238E27FC236}">
                <a16:creationId xmlns:a16="http://schemas.microsoft.com/office/drawing/2014/main" id="{54E3411D-0393-4C3A-93E3-22FAF3D244B7}"/>
              </a:ext>
            </a:extLst>
          </p:cNvPr>
          <p:cNvSpPr/>
          <p:nvPr/>
        </p:nvSpPr>
        <p:spPr>
          <a:xfrm>
            <a:off x="6164486" y="1791405"/>
            <a:ext cx="4411485" cy="213087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ym typeface="Georgi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88B11-B032-48FD-93F0-8D59DDCF4999}"/>
              </a:ext>
            </a:extLst>
          </p:cNvPr>
          <p:cNvSpPr/>
          <p:nvPr/>
        </p:nvSpPr>
        <p:spPr>
          <a:xfrm>
            <a:off x="6164486" y="2202442"/>
            <a:ext cx="441148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Επισκέπτες 2019</a:t>
            </a:r>
            <a:endParaRPr lang="en-US" sz="2400" b="1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algn="ctr">
              <a:spcAft>
                <a:spcPts val="600"/>
              </a:spcAft>
            </a:pPr>
            <a:r>
              <a:rPr lang="el-GR" sz="24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33 εκ.</a:t>
            </a:r>
          </a:p>
          <a:p>
            <a:pPr algn="ctr"/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(</a:t>
            </a:r>
            <a:r>
              <a:rPr lang="el-GR" sz="14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ΤτΕ</a:t>
            </a:r>
            <a:r>
              <a:rPr lang="el-GR" sz="14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</a:rPr>
              <a:t>: Ταξιδιωτικό ισοζύγιο πληρωμών)</a:t>
            </a:r>
          </a:p>
        </p:txBody>
      </p:sp>
    </p:spTree>
    <p:extLst>
      <p:ext uri="{BB962C8B-B14F-4D97-AF65-F5344CB8AC3E}">
        <p14:creationId xmlns:p14="http://schemas.microsoft.com/office/powerpoint/2010/main" val="14123563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4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“</a:t>
            </a: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estart Tourism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” – Οι βασικές μας προτεραιότητες</a:t>
            </a:r>
          </a:p>
        </p:txBody>
      </p:sp>
      <p:sp>
        <p:nvSpPr>
          <p:cNvPr id="51" name="Rectangle: Diagonal Corners Snipped 50">
            <a:extLst>
              <a:ext uri="{FF2B5EF4-FFF2-40B4-BE49-F238E27FC236}">
                <a16:creationId xmlns:a16="http://schemas.microsoft.com/office/drawing/2014/main" id="{45564BEA-AC54-4171-A46A-04D913AC70C1}"/>
              </a:ext>
            </a:extLst>
          </p:cNvPr>
          <p:cNvSpPr/>
          <p:nvPr/>
        </p:nvSpPr>
        <p:spPr>
          <a:xfrm>
            <a:off x="1195454" y="1836774"/>
            <a:ext cx="9628756" cy="3912515"/>
          </a:xfrm>
          <a:prstGeom prst="snip2DiagRect">
            <a:avLst/>
          </a:prstGeom>
          <a:solidFill>
            <a:schemeClr val="accent5"/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marL="179388" lvl="1">
              <a:spcBef>
                <a:spcPts val="1200"/>
              </a:spcBef>
              <a:spcAft>
                <a:spcPts val="1200"/>
              </a:spcAft>
            </a:pPr>
            <a:r>
              <a:rPr lang="el-GR" sz="2400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Επανεκκίνηση του τουρισμού: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ασφάλεια για τους εργαζόμενου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εβασμό στους επισκέπτε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ενίσχυση των δομών υγείας στους τουριστικούς προορισμούς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τήριξη των επιχειρήσεων</a:t>
            </a:r>
          </a:p>
          <a:p>
            <a:pPr marL="1012825" lvl="1" indent="-285750">
              <a:spcBef>
                <a:spcPts val="600"/>
              </a:spcBef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el-GR" sz="2000" b="1" dirty="0">
                <a:solidFill>
                  <a:schemeClr val="bg1"/>
                </a:solidFill>
                <a:latin typeface="Calibri" panose="020F0502020204030204" pitchFamily="34" charset="0"/>
                <a:sym typeface="Georgia"/>
              </a:rPr>
              <a:t>Με συνεννόηση και συνεργασία με την κοινωνία, τους φορείς και την παγκόσμια κοινότητα</a:t>
            </a:r>
          </a:p>
          <a:p>
            <a:endParaRPr lang="el-GR" sz="1100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41F42A9-F594-438F-9CAD-77A8405FB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4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2870604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35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Χρονοδιάγραμμα ανοίγματος αγοράς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73BE6488-3016-4708-991B-672A3DB4FD3C}"/>
              </a:ext>
            </a:extLst>
          </p:cNvPr>
          <p:cNvCxnSpPr>
            <a:cxnSpLocks/>
          </p:cNvCxnSpPr>
          <p:nvPr/>
        </p:nvCxnSpPr>
        <p:spPr>
          <a:xfrm>
            <a:off x="613177" y="3063196"/>
            <a:ext cx="10740623" cy="0"/>
          </a:xfrm>
          <a:prstGeom prst="straightConnector1">
            <a:avLst/>
          </a:prstGeom>
          <a:ln w="57150">
            <a:solidFill>
              <a:srgbClr val="01347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>
            <a:extLst>
              <a:ext uri="{FF2B5EF4-FFF2-40B4-BE49-F238E27FC236}">
                <a16:creationId xmlns:a16="http://schemas.microsoft.com/office/drawing/2014/main" id="{39C63869-CC6E-417C-8723-C9B7062198B4}"/>
              </a:ext>
            </a:extLst>
          </p:cNvPr>
          <p:cNvSpPr txBox="1"/>
          <p:nvPr/>
        </p:nvSpPr>
        <p:spPr bwMode="auto">
          <a:xfrm>
            <a:off x="3505361" y="5025830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Ξενοδοχεία 12μηνης λειτουργία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1F47103-06B2-4F3D-AC3C-0ADF3E6B39F1}"/>
              </a:ext>
            </a:extLst>
          </p:cNvPr>
          <p:cNvSpPr txBox="1"/>
          <p:nvPr/>
        </p:nvSpPr>
        <p:spPr bwMode="auto">
          <a:xfrm>
            <a:off x="5975631" y="4306982"/>
            <a:ext cx="1621922" cy="57430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Όλα τα υπόλοιπα καταλύματα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A78C0FD-81A9-42AB-B5FF-EE6155E15999}"/>
              </a:ext>
            </a:extLst>
          </p:cNvPr>
          <p:cNvGrpSpPr/>
          <p:nvPr/>
        </p:nvGrpSpPr>
        <p:grpSpPr>
          <a:xfrm>
            <a:off x="6028642" y="4356677"/>
            <a:ext cx="341184" cy="360000"/>
            <a:chOff x="3216946" y="5907019"/>
            <a:chExt cx="612000" cy="612000"/>
          </a:xfrm>
        </p:grpSpPr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937A79FE-0042-4D9A-AC2B-DFD8E9FA9545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3" name="Freeform 4912">
              <a:extLst>
                <a:ext uri="{FF2B5EF4-FFF2-40B4-BE49-F238E27FC236}">
                  <a16:creationId xmlns:a16="http://schemas.microsoft.com/office/drawing/2014/main" id="{07C0049B-CF51-440B-B16B-E5513EB260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FA04EE5-48C6-465E-9B33-15201C76F073}"/>
              </a:ext>
            </a:extLst>
          </p:cNvPr>
          <p:cNvSpPr txBox="1"/>
          <p:nvPr/>
        </p:nvSpPr>
        <p:spPr bwMode="auto">
          <a:xfrm>
            <a:off x="3505361" y="4306982"/>
            <a:ext cx="1620000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dirty="0"/>
              <a:t>Χώροι κατασκήνωσης (</a:t>
            </a:r>
            <a:r>
              <a:rPr lang="en-US" dirty="0"/>
              <a:t>Camping)</a:t>
            </a:r>
            <a:endParaRPr lang="el-GR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C505553-8F97-4633-8328-7319D18B81BC}"/>
              </a:ext>
            </a:extLst>
          </p:cNvPr>
          <p:cNvSpPr txBox="1"/>
          <p:nvPr/>
        </p:nvSpPr>
        <p:spPr bwMode="auto">
          <a:xfrm>
            <a:off x="2384498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Connector: Elbow 15">
            <a:extLst>
              <a:ext uri="{FF2B5EF4-FFF2-40B4-BE49-F238E27FC236}">
                <a16:creationId xmlns:a16="http://schemas.microsoft.com/office/drawing/2014/main" id="{574BB3EE-F173-414D-8A52-BFEC35F61F26}"/>
              </a:ext>
            </a:extLst>
          </p:cNvPr>
          <p:cNvCxnSpPr>
            <a:cxnSpLocks/>
            <a:stCxn id="14" idx="1"/>
            <a:endCxn id="15" idx="3"/>
          </p:cNvCxnSpPr>
          <p:nvPr/>
        </p:nvCxnSpPr>
        <p:spPr>
          <a:xfrm rot="10800000">
            <a:off x="3330805" y="3517838"/>
            <a:ext cx="174557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C18A09B0-E80A-458F-9BFA-6D0C46652C6E}"/>
              </a:ext>
            </a:extLst>
          </p:cNvPr>
          <p:cNvCxnSpPr>
            <a:cxnSpLocks/>
            <a:stCxn id="8" idx="1"/>
            <a:endCxn id="15" idx="3"/>
          </p:cNvCxnSpPr>
          <p:nvPr/>
        </p:nvCxnSpPr>
        <p:spPr>
          <a:xfrm rot="10800000">
            <a:off x="3330805" y="3517838"/>
            <a:ext cx="174557" cy="1795992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oup 24">
            <a:extLst>
              <a:ext uri="{FF2B5EF4-FFF2-40B4-BE49-F238E27FC236}">
                <a16:creationId xmlns:a16="http://schemas.microsoft.com/office/drawing/2014/main" id="{84A59353-D9CA-45FE-9527-AAD8D7E870EE}"/>
              </a:ext>
            </a:extLst>
          </p:cNvPr>
          <p:cNvGrpSpPr/>
          <p:nvPr/>
        </p:nvGrpSpPr>
        <p:grpSpPr>
          <a:xfrm>
            <a:off x="3565749" y="5076005"/>
            <a:ext cx="360000" cy="360000"/>
            <a:chOff x="9336672" y="2994227"/>
            <a:chExt cx="612775" cy="612775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EB9D301D-8677-48B1-AAE6-5562126BACCE}"/>
                </a:ext>
              </a:extLst>
            </p:cNvPr>
            <p:cNvSpPr/>
            <p:nvPr/>
          </p:nvSpPr>
          <p:spPr bwMode="ltGray">
            <a:xfrm>
              <a:off x="9336672" y="2994227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8A1A042-261C-4F84-91EC-C3D9B29122BA}"/>
                </a:ext>
              </a:extLst>
            </p:cNvPr>
            <p:cNvGrpSpPr/>
            <p:nvPr/>
          </p:nvGrpSpPr>
          <p:grpSpPr>
            <a:xfrm>
              <a:off x="9422137" y="3054420"/>
              <a:ext cx="458686" cy="507270"/>
              <a:chOff x="5261034" y="4117182"/>
              <a:chExt cx="458686" cy="507270"/>
            </a:xfrm>
            <a:solidFill>
              <a:schemeClr val="tx2"/>
            </a:solidFill>
          </p:grpSpPr>
          <p:sp>
            <p:nvSpPr>
              <p:cNvPr id="28" name="Freeform 430">
                <a:extLst>
                  <a:ext uri="{FF2B5EF4-FFF2-40B4-BE49-F238E27FC236}">
                    <a16:creationId xmlns:a16="http://schemas.microsoft.com/office/drawing/2014/main" id="{99F1EA01-0C3C-4362-9753-EE7F449B78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1034" y="4117182"/>
                <a:ext cx="458686" cy="507270"/>
              </a:xfrm>
              <a:custGeom>
                <a:avLst/>
                <a:gdLst>
                  <a:gd name="T0" fmla="*/ 1711 w 2002"/>
                  <a:gd name="T1" fmla="*/ 1114 h 1509"/>
                  <a:gd name="T2" fmla="*/ 1588 w 2002"/>
                  <a:gd name="T3" fmla="*/ 623 h 1509"/>
                  <a:gd name="T4" fmla="*/ 1284 w 2002"/>
                  <a:gd name="T5" fmla="*/ 576 h 1509"/>
                  <a:gd name="T6" fmla="*/ 1527 w 2002"/>
                  <a:gd name="T7" fmla="*/ 528 h 1509"/>
                  <a:gd name="T8" fmla="*/ 1284 w 2002"/>
                  <a:gd name="T9" fmla="*/ 206 h 1509"/>
                  <a:gd name="T10" fmla="*/ 927 w 2002"/>
                  <a:gd name="T11" fmla="*/ 856 h 1509"/>
                  <a:gd name="T12" fmla="*/ 870 w 2002"/>
                  <a:gd name="T13" fmla="*/ 265 h 1509"/>
                  <a:gd name="T14" fmla="*/ 685 w 2002"/>
                  <a:gd name="T15" fmla="*/ 311 h 1509"/>
                  <a:gd name="T16" fmla="*/ 661 w 2002"/>
                  <a:gd name="T17" fmla="*/ 0 h 1509"/>
                  <a:gd name="T18" fmla="*/ 606 w 2002"/>
                  <a:gd name="T19" fmla="*/ 311 h 1509"/>
                  <a:gd name="T20" fmla="*/ 507 w 2002"/>
                  <a:gd name="T21" fmla="*/ 425 h 1509"/>
                  <a:gd name="T22" fmla="*/ 454 w 2002"/>
                  <a:gd name="T23" fmla="*/ 666 h 1509"/>
                  <a:gd name="T24" fmla="*/ 507 w 2002"/>
                  <a:gd name="T25" fmla="*/ 730 h 1509"/>
                  <a:gd name="T26" fmla="*/ 454 w 2002"/>
                  <a:gd name="T27" fmla="*/ 810 h 1509"/>
                  <a:gd name="T28" fmla="*/ 507 w 2002"/>
                  <a:gd name="T29" fmla="*/ 874 h 1509"/>
                  <a:gd name="T30" fmla="*/ 349 w 2002"/>
                  <a:gd name="T31" fmla="*/ 1063 h 1509"/>
                  <a:gd name="T32" fmla="*/ 430 w 2002"/>
                  <a:gd name="T33" fmla="*/ 1183 h 1509"/>
                  <a:gd name="T34" fmla="*/ 539 w 2002"/>
                  <a:gd name="T35" fmla="*/ 1180 h 1509"/>
                  <a:gd name="T36" fmla="*/ 640 w 2002"/>
                  <a:gd name="T37" fmla="*/ 1180 h 1509"/>
                  <a:gd name="T38" fmla="*/ 741 w 2002"/>
                  <a:gd name="T39" fmla="*/ 1179 h 1509"/>
                  <a:gd name="T40" fmla="*/ 837 w 2002"/>
                  <a:gd name="T41" fmla="*/ 1300 h 1509"/>
                  <a:gd name="T42" fmla="*/ 859 w 2002"/>
                  <a:gd name="T43" fmla="*/ 1273 h 1509"/>
                  <a:gd name="T44" fmla="*/ 887 w 2002"/>
                  <a:gd name="T45" fmla="*/ 1252 h 1509"/>
                  <a:gd name="T46" fmla="*/ 918 w 2002"/>
                  <a:gd name="T47" fmla="*/ 1240 h 1509"/>
                  <a:gd name="T48" fmla="*/ 954 w 2002"/>
                  <a:gd name="T49" fmla="*/ 1235 h 1509"/>
                  <a:gd name="T50" fmla="*/ 1006 w 2002"/>
                  <a:gd name="T51" fmla="*/ 1244 h 1509"/>
                  <a:gd name="T52" fmla="*/ 1048 w 2002"/>
                  <a:gd name="T53" fmla="*/ 1271 h 1509"/>
                  <a:gd name="T54" fmla="*/ 1078 w 2002"/>
                  <a:gd name="T55" fmla="*/ 1311 h 1509"/>
                  <a:gd name="T56" fmla="*/ 1093 w 2002"/>
                  <a:gd name="T57" fmla="*/ 1359 h 1509"/>
                  <a:gd name="T58" fmla="*/ 1102 w 2002"/>
                  <a:gd name="T59" fmla="*/ 1358 h 1509"/>
                  <a:gd name="T60" fmla="*/ 1110 w 2002"/>
                  <a:gd name="T61" fmla="*/ 1357 h 1509"/>
                  <a:gd name="T62" fmla="*/ 1120 w 2002"/>
                  <a:gd name="T63" fmla="*/ 1356 h 1509"/>
                  <a:gd name="T64" fmla="*/ 1129 w 2002"/>
                  <a:gd name="T65" fmla="*/ 1356 h 1509"/>
                  <a:gd name="T66" fmla="*/ 1169 w 2002"/>
                  <a:gd name="T67" fmla="*/ 1362 h 1509"/>
                  <a:gd name="T68" fmla="*/ 1205 w 2002"/>
                  <a:gd name="T69" fmla="*/ 1379 h 1509"/>
                  <a:gd name="T70" fmla="*/ 1235 w 2002"/>
                  <a:gd name="T71" fmla="*/ 1404 h 1509"/>
                  <a:gd name="T72" fmla="*/ 1256 w 2002"/>
                  <a:gd name="T73" fmla="*/ 1438 h 1509"/>
                  <a:gd name="T74" fmla="*/ 691 w 2002"/>
                  <a:gd name="T75" fmla="*/ 1425 h 1509"/>
                  <a:gd name="T76" fmla="*/ 707 w 2002"/>
                  <a:gd name="T77" fmla="*/ 1402 h 1509"/>
                  <a:gd name="T78" fmla="*/ 728 w 2002"/>
                  <a:gd name="T79" fmla="*/ 1384 h 1509"/>
                  <a:gd name="T80" fmla="*/ 752 w 2002"/>
                  <a:gd name="T81" fmla="*/ 1370 h 1509"/>
                  <a:gd name="T82" fmla="*/ 766 w 2002"/>
                  <a:gd name="T83" fmla="*/ 1237 h 1509"/>
                  <a:gd name="T84" fmla="*/ 294 w 2002"/>
                  <a:gd name="T85" fmla="*/ 1334 h 1509"/>
                  <a:gd name="T86" fmla="*/ 278 w 2002"/>
                  <a:gd name="T87" fmla="*/ 1359 h 1509"/>
                  <a:gd name="T88" fmla="*/ 271 w 2002"/>
                  <a:gd name="T89" fmla="*/ 1389 h 1509"/>
                  <a:gd name="T90" fmla="*/ 264 w 2002"/>
                  <a:gd name="T91" fmla="*/ 1388 h 1509"/>
                  <a:gd name="T92" fmla="*/ 256 w 2002"/>
                  <a:gd name="T93" fmla="*/ 1387 h 1509"/>
                  <a:gd name="T94" fmla="*/ 232 w 2002"/>
                  <a:gd name="T95" fmla="*/ 1391 h 1509"/>
                  <a:gd name="T96" fmla="*/ 211 w 2002"/>
                  <a:gd name="T97" fmla="*/ 1401 h 1509"/>
                  <a:gd name="T98" fmla="*/ 194 w 2002"/>
                  <a:gd name="T99" fmla="*/ 1417 h 1509"/>
                  <a:gd name="T100" fmla="*/ 181 w 2002"/>
                  <a:gd name="T101" fmla="*/ 1438 h 1509"/>
                  <a:gd name="T102" fmla="*/ 0 w 2002"/>
                  <a:gd name="T103" fmla="*/ 1509 h 1509"/>
                  <a:gd name="T104" fmla="*/ 2002 w 2002"/>
                  <a:gd name="T105" fmla="*/ 1438 h 1509"/>
                  <a:gd name="connsiteX0" fmla="*/ 8546 w 10000"/>
                  <a:gd name="connsiteY0" fmla="*/ 9529 h 10020"/>
                  <a:gd name="connsiteX1" fmla="*/ 8546 w 10000"/>
                  <a:gd name="connsiteY1" fmla="*/ 7382 h 10020"/>
                  <a:gd name="connsiteX2" fmla="*/ 7932 w 10000"/>
                  <a:gd name="connsiteY2" fmla="*/ 7382 h 10020"/>
                  <a:gd name="connsiteX3" fmla="*/ 7932 w 10000"/>
                  <a:gd name="connsiteY3" fmla="*/ 4129 h 10020"/>
                  <a:gd name="connsiteX4" fmla="*/ 6414 w 10000"/>
                  <a:gd name="connsiteY4" fmla="*/ 4129 h 10020"/>
                  <a:gd name="connsiteX5" fmla="*/ 6414 w 10000"/>
                  <a:gd name="connsiteY5" fmla="*/ 3817 h 10020"/>
                  <a:gd name="connsiteX6" fmla="*/ 7627 w 10000"/>
                  <a:gd name="connsiteY6" fmla="*/ 3817 h 10020"/>
                  <a:gd name="connsiteX7" fmla="*/ 7627 w 10000"/>
                  <a:gd name="connsiteY7" fmla="*/ 3499 h 10020"/>
                  <a:gd name="connsiteX8" fmla="*/ 6414 w 10000"/>
                  <a:gd name="connsiteY8" fmla="*/ 3499 h 10020"/>
                  <a:gd name="connsiteX9" fmla="*/ 6414 w 10000"/>
                  <a:gd name="connsiteY9" fmla="*/ 1365 h 10020"/>
                  <a:gd name="connsiteX10" fmla="*/ 4630 w 10000"/>
                  <a:gd name="connsiteY10" fmla="*/ 550 h 10020"/>
                  <a:gd name="connsiteX11" fmla="*/ 4630 w 10000"/>
                  <a:gd name="connsiteY11" fmla="*/ 5673 h 10020"/>
                  <a:gd name="connsiteX12" fmla="*/ 4346 w 10000"/>
                  <a:gd name="connsiteY12" fmla="*/ 5679 h 10020"/>
                  <a:gd name="connsiteX13" fmla="*/ 4346 w 10000"/>
                  <a:gd name="connsiteY13" fmla="*/ 1756 h 10020"/>
                  <a:gd name="connsiteX14" fmla="*/ 3746 w 10000"/>
                  <a:gd name="connsiteY14" fmla="*/ 2061 h 10020"/>
                  <a:gd name="connsiteX15" fmla="*/ 3422 w 10000"/>
                  <a:gd name="connsiteY15" fmla="*/ 2061 h 10020"/>
                  <a:gd name="connsiteX16" fmla="*/ 3422 w 10000"/>
                  <a:gd name="connsiteY16" fmla="*/ 0 h 10020"/>
                  <a:gd name="connsiteX17" fmla="*/ 3302 w 10000"/>
                  <a:gd name="connsiteY17" fmla="*/ 0 h 10020"/>
                  <a:gd name="connsiteX18" fmla="*/ 3302 w 10000"/>
                  <a:gd name="connsiteY18" fmla="*/ 2061 h 10020"/>
                  <a:gd name="connsiteX19" fmla="*/ 3027 w 10000"/>
                  <a:gd name="connsiteY19" fmla="*/ 2061 h 10020"/>
                  <a:gd name="connsiteX20" fmla="*/ 3027 w 10000"/>
                  <a:gd name="connsiteY20" fmla="*/ 2492 h 10020"/>
                  <a:gd name="connsiteX21" fmla="*/ 2532 w 10000"/>
                  <a:gd name="connsiteY21" fmla="*/ 2816 h 10020"/>
                  <a:gd name="connsiteX22" fmla="*/ 2532 w 10000"/>
                  <a:gd name="connsiteY22" fmla="*/ 4414 h 10020"/>
                  <a:gd name="connsiteX23" fmla="*/ 2268 w 10000"/>
                  <a:gd name="connsiteY23" fmla="*/ 4414 h 10020"/>
                  <a:gd name="connsiteX24" fmla="*/ 2268 w 10000"/>
                  <a:gd name="connsiteY24" fmla="*/ 4838 h 10020"/>
                  <a:gd name="connsiteX25" fmla="*/ 2532 w 10000"/>
                  <a:gd name="connsiteY25" fmla="*/ 4838 h 10020"/>
                  <a:gd name="connsiteX26" fmla="*/ 2532 w 10000"/>
                  <a:gd name="connsiteY26" fmla="*/ 5368 h 10020"/>
                  <a:gd name="connsiteX27" fmla="*/ 2268 w 10000"/>
                  <a:gd name="connsiteY27" fmla="*/ 5368 h 10020"/>
                  <a:gd name="connsiteX28" fmla="*/ 2268 w 10000"/>
                  <a:gd name="connsiteY28" fmla="*/ 5792 h 10020"/>
                  <a:gd name="connsiteX29" fmla="*/ 2532 w 10000"/>
                  <a:gd name="connsiteY29" fmla="*/ 5792 h 10020"/>
                  <a:gd name="connsiteX30" fmla="*/ 2532 w 10000"/>
                  <a:gd name="connsiteY30" fmla="*/ 7044 h 10020"/>
                  <a:gd name="connsiteX31" fmla="*/ 1743 w 10000"/>
                  <a:gd name="connsiteY31" fmla="*/ 7044 h 10020"/>
                  <a:gd name="connsiteX32" fmla="*/ 1743 w 10000"/>
                  <a:gd name="connsiteY32" fmla="*/ 7820 h 10020"/>
                  <a:gd name="connsiteX33" fmla="*/ 2148 w 10000"/>
                  <a:gd name="connsiteY33" fmla="*/ 7840 h 10020"/>
                  <a:gd name="connsiteX34" fmla="*/ 2697 w 10000"/>
                  <a:gd name="connsiteY34" fmla="*/ 7316 h 10020"/>
                  <a:gd name="connsiteX35" fmla="*/ 2692 w 10000"/>
                  <a:gd name="connsiteY35" fmla="*/ 7820 h 10020"/>
                  <a:gd name="connsiteX36" fmla="*/ 3197 w 10000"/>
                  <a:gd name="connsiteY36" fmla="*/ 7369 h 10020"/>
                  <a:gd name="connsiteX37" fmla="*/ 3197 w 10000"/>
                  <a:gd name="connsiteY37" fmla="*/ 7820 h 10020"/>
                  <a:gd name="connsiteX38" fmla="*/ 3696 w 10000"/>
                  <a:gd name="connsiteY38" fmla="*/ 7362 h 10020"/>
                  <a:gd name="connsiteX39" fmla="*/ 3701 w 10000"/>
                  <a:gd name="connsiteY39" fmla="*/ 7813 h 10020"/>
                  <a:gd name="connsiteX40" fmla="*/ 4181 w 10000"/>
                  <a:gd name="connsiteY40" fmla="*/ 7329 h 10020"/>
                  <a:gd name="connsiteX41" fmla="*/ 4181 w 10000"/>
                  <a:gd name="connsiteY41" fmla="*/ 8615 h 10020"/>
                  <a:gd name="connsiteX42" fmla="*/ 4236 w 10000"/>
                  <a:gd name="connsiteY42" fmla="*/ 8522 h 10020"/>
                  <a:gd name="connsiteX43" fmla="*/ 4291 w 10000"/>
                  <a:gd name="connsiteY43" fmla="*/ 8436 h 10020"/>
                  <a:gd name="connsiteX44" fmla="*/ 4356 w 10000"/>
                  <a:gd name="connsiteY44" fmla="*/ 8363 h 10020"/>
                  <a:gd name="connsiteX45" fmla="*/ 4431 w 10000"/>
                  <a:gd name="connsiteY45" fmla="*/ 8297 h 10020"/>
                  <a:gd name="connsiteX46" fmla="*/ 4505 w 10000"/>
                  <a:gd name="connsiteY46" fmla="*/ 8250 h 10020"/>
                  <a:gd name="connsiteX47" fmla="*/ 4585 w 10000"/>
                  <a:gd name="connsiteY47" fmla="*/ 8217 h 10020"/>
                  <a:gd name="connsiteX48" fmla="*/ 4670 w 10000"/>
                  <a:gd name="connsiteY48" fmla="*/ 8191 h 10020"/>
                  <a:gd name="connsiteX49" fmla="*/ 4765 w 10000"/>
                  <a:gd name="connsiteY49" fmla="*/ 8184 h 10020"/>
                  <a:gd name="connsiteX50" fmla="*/ 4895 w 10000"/>
                  <a:gd name="connsiteY50" fmla="*/ 8197 h 10020"/>
                  <a:gd name="connsiteX51" fmla="*/ 5025 w 10000"/>
                  <a:gd name="connsiteY51" fmla="*/ 8244 h 10020"/>
                  <a:gd name="connsiteX52" fmla="*/ 5130 w 10000"/>
                  <a:gd name="connsiteY52" fmla="*/ 8323 h 10020"/>
                  <a:gd name="connsiteX53" fmla="*/ 5235 w 10000"/>
                  <a:gd name="connsiteY53" fmla="*/ 8423 h 10020"/>
                  <a:gd name="connsiteX54" fmla="*/ 5325 w 10000"/>
                  <a:gd name="connsiteY54" fmla="*/ 8542 h 10020"/>
                  <a:gd name="connsiteX55" fmla="*/ 5385 w 10000"/>
                  <a:gd name="connsiteY55" fmla="*/ 8688 h 10020"/>
                  <a:gd name="connsiteX56" fmla="*/ 5440 w 10000"/>
                  <a:gd name="connsiteY56" fmla="*/ 8840 h 10020"/>
                  <a:gd name="connsiteX57" fmla="*/ 5460 w 10000"/>
                  <a:gd name="connsiteY57" fmla="*/ 9006 h 10020"/>
                  <a:gd name="connsiteX58" fmla="*/ 5485 w 10000"/>
                  <a:gd name="connsiteY58" fmla="*/ 8999 h 10020"/>
                  <a:gd name="connsiteX59" fmla="*/ 5504 w 10000"/>
                  <a:gd name="connsiteY59" fmla="*/ 8999 h 10020"/>
                  <a:gd name="connsiteX60" fmla="*/ 5524 w 10000"/>
                  <a:gd name="connsiteY60" fmla="*/ 8993 h 10020"/>
                  <a:gd name="connsiteX61" fmla="*/ 5544 w 10000"/>
                  <a:gd name="connsiteY61" fmla="*/ 8993 h 10020"/>
                  <a:gd name="connsiteX62" fmla="*/ 5569 w 10000"/>
                  <a:gd name="connsiteY62" fmla="*/ 8986 h 10020"/>
                  <a:gd name="connsiteX63" fmla="*/ 5594 w 10000"/>
                  <a:gd name="connsiteY63" fmla="*/ 8986 h 10020"/>
                  <a:gd name="connsiteX64" fmla="*/ 5614 w 10000"/>
                  <a:gd name="connsiteY64" fmla="*/ 8986 h 10020"/>
                  <a:gd name="connsiteX65" fmla="*/ 5639 w 10000"/>
                  <a:gd name="connsiteY65" fmla="*/ 8986 h 10020"/>
                  <a:gd name="connsiteX66" fmla="*/ 5744 w 10000"/>
                  <a:gd name="connsiteY66" fmla="*/ 8993 h 10020"/>
                  <a:gd name="connsiteX67" fmla="*/ 5839 w 10000"/>
                  <a:gd name="connsiteY67" fmla="*/ 9026 h 10020"/>
                  <a:gd name="connsiteX68" fmla="*/ 5934 w 10000"/>
                  <a:gd name="connsiteY68" fmla="*/ 9072 h 10020"/>
                  <a:gd name="connsiteX69" fmla="*/ 6019 w 10000"/>
                  <a:gd name="connsiteY69" fmla="*/ 9139 h 10020"/>
                  <a:gd name="connsiteX70" fmla="*/ 6099 w 10000"/>
                  <a:gd name="connsiteY70" fmla="*/ 9218 h 10020"/>
                  <a:gd name="connsiteX71" fmla="*/ 6169 w 10000"/>
                  <a:gd name="connsiteY71" fmla="*/ 9304 h 10020"/>
                  <a:gd name="connsiteX72" fmla="*/ 6224 w 10000"/>
                  <a:gd name="connsiteY72" fmla="*/ 9417 h 10020"/>
                  <a:gd name="connsiteX73" fmla="*/ 6274 w 10000"/>
                  <a:gd name="connsiteY73" fmla="*/ 9529 h 10020"/>
                  <a:gd name="connsiteX74" fmla="*/ 3422 w 10000"/>
                  <a:gd name="connsiteY74" fmla="*/ 9529 h 10020"/>
                  <a:gd name="connsiteX75" fmla="*/ 3452 w 10000"/>
                  <a:gd name="connsiteY75" fmla="*/ 9443 h 10020"/>
                  <a:gd name="connsiteX76" fmla="*/ 3492 w 10000"/>
                  <a:gd name="connsiteY76" fmla="*/ 9357 h 10020"/>
                  <a:gd name="connsiteX77" fmla="*/ 3531 w 10000"/>
                  <a:gd name="connsiteY77" fmla="*/ 9291 h 10020"/>
                  <a:gd name="connsiteX78" fmla="*/ 3586 w 10000"/>
                  <a:gd name="connsiteY78" fmla="*/ 9225 h 10020"/>
                  <a:gd name="connsiteX79" fmla="*/ 3636 w 10000"/>
                  <a:gd name="connsiteY79" fmla="*/ 9172 h 10020"/>
                  <a:gd name="connsiteX80" fmla="*/ 3696 w 10000"/>
                  <a:gd name="connsiteY80" fmla="*/ 9119 h 10020"/>
                  <a:gd name="connsiteX81" fmla="*/ 3756 w 10000"/>
                  <a:gd name="connsiteY81" fmla="*/ 9079 h 10020"/>
                  <a:gd name="connsiteX82" fmla="*/ 3826 w 10000"/>
                  <a:gd name="connsiteY82" fmla="*/ 9046 h 10020"/>
                  <a:gd name="connsiteX83" fmla="*/ 3826 w 10000"/>
                  <a:gd name="connsiteY83" fmla="*/ 8197 h 10020"/>
                  <a:gd name="connsiteX84" fmla="*/ 1469 w 10000"/>
                  <a:gd name="connsiteY84" fmla="*/ 8211 h 10020"/>
                  <a:gd name="connsiteX85" fmla="*/ 1469 w 10000"/>
                  <a:gd name="connsiteY85" fmla="*/ 8840 h 10020"/>
                  <a:gd name="connsiteX86" fmla="*/ 1424 w 10000"/>
                  <a:gd name="connsiteY86" fmla="*/ 8920 h 10020"/>
                  <a:gd name="connsiteX87" fmla="*/ 1389 w 10000"/>
                  <a:gd name="connsiteY87" fmla="*/ 9006 h 10020"/>
                  <a:gd name="connsiteX88" fmla="*/ 1364 w 10000"/>
                  <a:gd name="connsiteY88" fmla="*/ 9099 h 10020"/>
                  <a:gd name="connsiteX89" fmla="*/ 1354 w 10000"/>
                  <a:gd name="connsiteY89" fmla="*/ 9205 h 10020"/>
                  <a:gd name="connsiteX90" fmla="*/ 1334 w 10000"/>
                  <a:gd name="connsiteY90" fmla="*/ 9198 h 10020"/>
                  <a:gd name="connsiteX91" fmla="*/ 1319 w 10000"/>
                  <a:gd name="connsiteY91" fmla="*/ 9198 h 10020"/>
                  <a:gd name="connsiteX92" fmla="*/ 1299 w 10000"/>
                  <a:gd name="connsiteY92" fmla="*/ 9192 h 10020"/>
                  <a:gd name="connsiteX93" fmla="*/ 1279 w 10000"/>
                  <a:gd name="connsiteY93" fmla="*/ 9192 h 10020"/>
                  <a:gd name="connsiteX94" fmla="*/ 1214 w 10000"/>
                  <a:gd name="connsiteY94" fmla="*/ 9198 h 10020"/>
                  <a:gd name="connsiteX95" fmla="*/ 1159 w 10000"/>
                  <a:gd name="connsiteY95" fmla="*/ 9218 h 10020"/>
                  <a:gd name="connsiteX96" fmla="*/ 1104 w 10000"/>
                  <a:gd name="connsiteY96" fmla="*/ 9245 h 10020"/>
                  <a:gd name="connsiteX97" fmla="*/ 1054 w 10000"/>
                  <a:gd name="connsiteY97" fmla="*/ 9284 h 10020"/>
                  <a:gd name="connsiteX98" fmla="*/ 1009 w 10000"/>
                  <a:gd name="connsiteY98" fmla="*/ 9337 h 10020"/>
                  <a:gd name="connsiteX99" fmla="*/ 969 w 10000"/>
                  <a:gd name="connsiteY99" fmla="*/ 9390 h 10020"/>
                  <a:gd name="connsiteX100" fmla="*/ 934 w 10000"/>
                  <a:gd name="connsiteY100" fmla="*/ 9457 h 10020"/>
                  <a:gd name="connsiteX101" fmla="*/ 904 w 10000"/>
                  <a:gd name="connsiteY101" fmla="*/ 9529 h 10020"/>
                  <a:gd name="connsiteX102" fmla="*/ 415 w 10000"/>
                  <a:gd name="connsiteY102" fmla="*/ 9529 h 10020"/>
                  <a:gd name="connsiteX103" fmla="*/ 0 w 10000"/>
                  <a:gd name="connsiteY103" fmla="*/ 10000 h 10020"/>
                  <a:gd name="connsiteX104" fmla="*/ 1760 w 10000"/>
                  <a:gd name="connsiteY104" fmla="*/ 10020 h 10020"/>
                  <a:gd name="connsiteX105" fmla="*/ 9725 w 10000"/>
                  <a:gd name="connsiteY105" fmla="*/ 10000 h 10020"/>
                  <a:gd name="connsiteX106" fmla="*/ 10000 w 10000"/>
                  <a:gd name="connsiteY106" fmla="*/ 9529 h 10020"/>
                  <a:gd name="connsiteX107" fmla="*/ 8546 w 10000"/>
                  <a:gd name="connsiteY107" fmla="*/ 9529 h 10020"/>
                  <a:gd name="connsiteX0" fmla="*/ 8131 w 9585"/>
                  <a:gd name="connsiteY0" fmla="*/ 9529 h 10020"/>
                  <a:gd name="connsiteX1" fmla="*/ 8131 w 9585"/>
                  <a:gd name="connsiteY1" fmla="*/ 7382 h 10020"/>
                  <a:gd name="connsiteX2" fmla="*/ 7517 w 9585"/>
                  <a:gd name="connsiteY2" fmla="*/ 7382 h 10020"/>
                  <a:gd name="connsiteX3" fmla="*/ 7517 w 9585"/>
                  <a:gd name="connsiteY3" fmla="*/ 4129 h 10020"/>
                  <a:gd name="connsiteX4" fmla="*/ 5999 w 9585"/>
                  <a:gd name="connsiteY4" fmla="*/ 4129 h 10020"/>
                  <a:gd name="connsiteX5" fmla="*/ 5999 w 9585"/>
                  <a:gd name="connsiteY5" fmla="*/ 3817 h 10020"/>
                  <a:gd name="connsiteX6" fmla="*/ 7212 w 9585"/>
                  <a:gd name="connsiteY6" fmla="*/ 3817 h 10020"/>
                  <a:gd name="connsiteX7" fmla="*/ 7212 w 9585"/>
                  <a:gd name="connsiteY7" fmla="*/ 3499 h 10020"/>
                  <a:gd name="connsiteX8" fmla="*/ 5999 w 9585"/>
                  <a:gd name="connsiteY8" fmla="*/ 3499 h 10020"/>
                  <a:gd name="connsiteX9" fmla="*/ 5999 w 9585"/>
                  <a:gd name="connsiteY9" fmla="*/ 1365 h 10020"/>
                  <a:gd name="connsiteX10" fmla="*/ 4215 w 9585"/>
                  <a:gd name="connsiteY10" fmla="*/ 550 h 10020"/>
                  <a:gd name="connsiteX11" fmla="*/ 4215 w 9585"/>
                  <a:gd name="connsiteY11" fmla="*/ 5673 h 10020"/>
                  <a:gd name="connsiteX12" fmla="*/ 3931 w 9585"/>
                  <a:gd name="connsiteY12" fmla="*/ 5679 h 10020"/>
                  <a:gd name="connsiteX13" fmla="*/ 3931 w 9585"/>
                  <a:gd name="connsiteY13" fmla="*/ 1756 h 10020"/>
                  <a:gd name="connsiteX14" fmla="*/ 3331 w 9585"/>
                  <a:gd name="connsiteY14" fmla="*/ 2061 h 10020"/>
                  <a:gd name="connsiteX15" fmla="*/ 3007 w 9585"/>
                  <a:gd name="connsiteY15" fmla="*/ 2061 h 10020"/>
                  <a:gd name="connsiteX16" fmla="*/ 3007 w 9585"/>
                  <a:gd name="connsiteY16" fmla="*/ 0 h 10020"/>
                  <a:gd name="connsiteX17" fmla="*/ 2887 w 9585"/>
                  <a:gd name="connsiteY17" fmla="*/ 0 h 10020"/>
                  <a:gd name="connsiteX18" fmla="*/ 2887 w 9585"/>
                  <a:gd name="connsiteY18" fmla="*/ 2061 h 10020"/>
                  <a:gd name="connsiteX19" fmla="*/ 2612 w 9585"/>
                  <a:gd name="connsiteY19" fmla="*/ 2061 h 10020"/>
                  <a:gd name="connsiteX20" fmla="*/ 2612 w 9585"/>
                  <a:gd name="connsiteY20" fmla="*/ 2492 h 10020"/>
                  <a:gd name="connsiteX21" fmla="*/ 2117 w 9585"/>
                  <a:gd name="connsiteY21" fmla="*/ 2816 h 10020"/>
                  <a:gd name="connsiteX22" fmla="*/ 2117 w 9585"/>
                  <a:gd name="connsiteY22" fmla="*/ 4414 h 10020"/>
                  <a:gd name="connsiteX23" fmla="*/ 1853 w 9585"/>
                  <a:gd name="connsiteY23" fmla="*/ 4414 h 10020"/>
                  <a:gd name="connsiteX24" fmla="*/ 1853 w 9585"/>
                  <a:gd name="connsiteY24" fmla="*/ 4838 h 10020"/>
                  <a:gd name="connsiteX25" fmla="*/ 2117 w 9585"/>
                  <a:gd name="connsiteY25" fmla="*/ 4838 h 10020"/>
                  <a:gd name="connsiteX26" fmla="*/ 2117 w 9585"/>
                  <a:gd name="connsiteY26" fmla="*/ 5368 h 10020"/>
                  <a:gd name="connsiteX27" fmla="*/ 1853 w 9585"/>
                  <a:gd name="connsiteY27" fmla="*/ 5368 h 10020"/>
                  <a:gd name="connsiteX28" fmla="*/ 1853 w 9585"/>
                  <a:gd name="connsiteY28" fmla="*/ 5792 h 10020"/>
                  <a:gd name="connsiteX29" fmla="*/ 2117 w 9585"/>
                  <a:gd name="connsiteY29" fmla="*/ 5792 h 10020"/>
                  <a:gd name="connsiteX30" fmla="*/ 2117 w 9585"/>
                  <a:gd name="connsiteY30" fmla="*/ 7044 h 10020"/>
                  <a:gd name="connsiteX31" fmla="*/ 1328 w 9585"/>
                  <a:gd name="connsiteY31" fmla="*/ 7044 h 10020"/>
                  <a:gd name="connsiteX32" fmla="*/ 1328 w 9585"/>
                  <a:gd name="connsiteY32" fmla="*/ 7820 h 10020"/>
                  <a:gd name="connsiteX33" fmla="*/ 1733 w 9585"/>
                  <a:gd name="connsiteY33" fmla="*/ 7840 h 10020"/>
                  <a:gd name="connsiteX34" fmla="*/ 2282 w 9585"/>
                  <a:gd name="connsiteY34" fmla="*/ 7316 h 10020"/>
                  <a:gd name="connsiteX35" fmla="*/ 2277 w 9585"/>
                  <a:gd name="connsiteY35" fmla="*/ 7820 h 10020"/>
                  <a:gd name="connsiteX36" fmla="*/ 2782 w 9585"/>
                  <a:gd name="connsiteY36" fmla="*/ 7369 h 10020"/>
                  <a:gd name="connsiteX37" fmla="*/ 2782 w 9585"/>
                  <a:gd name="connsiteY37" fmla="*/ 7820 h 10020"/>
                  <a:gd name="connsiteX38" fmla="*/ 3281 w 9585"/>
                  <a:gd name="connsiteY38" fmla="*/ 7362 h 10020"/>
                  <a:gd name="connsiteX39" fmla="*/ 3286 w 9585"/>
                  <a:gd name="connsiteY39" fmla="*/ 7813 h 10020"/>
                  <a:gd name="connsiteX40" fmla="*/ 3766 w 9585"/>
                  <a:gd name="connsiteY40" fmla="*/ 7329 h 10020"/>
                  <a:gd name="connsiteX41" fmla="*/ 3766 w 9585"/>
                  <a:gd name="connsiteY41" fmla="*/ 8615 h 10020"/>
                  <a:gd name="connsiteX42" fmla="*/ 3821 w 9585"/>
                  <a:gd name="connsiteY42" fmla="*/ 8522 h 10020"/>
                  <a:gd name="connsiteX43" fmla="*/ 3876 w 9585"/>
                  <a:gd name="connsiteY43" fmla="*/ 8436 h 10020"/>
                  <a:gd name="connsiteX44" fmla="*/ 3941 w 9585"/>
                  <a:gd name="connsiteY44" fmla="*/ 8363 h 10020"/>
                  <a:gd name="connsiteX45" fmla="*/ 4016 w 9585"/>
                  <a:gd name="connsiteY45" fmla="*/ 8297 h 10020"/>
                  <a:gd name="connsiteX46" fmla="*/ 4090 w 9585"/>
                  <a:gd name="connsiteY46" fmla="*/ 8250 h 10020"/>
                  <a:gd name="connsiteX47" fmla="*/ 4170 w 9585"/>
                  <a:gd name="connsiteY47" fmla="*/ 8217 h 10020"/>
                  <a:gd name="connsiteX48" fmla="*/ 4255 w 9585"/>
                  <a:gd name="connsiteY48" fmla="*/ 8191 h 10020"/>
                  <a:gd name="connsiteX49" fmla="*/ 4350 w 9585"/>
                  <a:gd name="connsiteY49" fmla="*/ 8184 h 10020"/>
                  <a:gd name="connsiteX50" fmla="*/ 4480 w 9585"/>
                  <a:gd name="connsiteY50" fmla="*/ 8197 h 10020"/>
                  <a:gd name="connsiteX51" fmla="*/ 4610 w 9585"/>
                  <a:gd name="connsiteY51" fmla="*/ 8244 h 10020"/>
                  <a:gd name="connsiteX52" fmla="*/ 4715 w 9585"/>
                  <a:gd name="connsiteY52" fmla="*/ 8323 h 10020"/>
                  <a:gd name="connsiteX53" fmla="*/ 4820 w 9585"/>
                  <a:gd name="connsiteY53" fmla="*/ 8423 h 10020"/>
                  <a:gd name="connsiteX54" fmla="*/ 4910 w 9585"/>
                  <a:gd name="connsiteY54" fmla="*/ 8542 h 10020"/>
                  <a:gd name="connsiteX55" fmla="*/ 4970 w 9585"/>
                  <a:gd name="connsiteY55" fmla="*/ 8688 h 10020"/>
                  <a:gd name="connsiteX56" fmla="*/ 5025 w 9585"/>
                  <a:gd name="connsiteY56" fmla="*/ 8840 h 10020"/>
                  <a:gd name="connsiteX57" fmla="*/ 5045 w 9585"/>
                  <a:gd name="connsiteY57" fmla="*/ 9006 h 10020"/>
                  <a:gd name="connsiteX58" fmla="*/ 5070 w 9585"/>
                  <a:gd name="connsiteY58" fmla="*/ 8999 h 10020"/>
                  <a:gd name="connsiteX59" fmla="*/ 5089 w 9585"/>
                  <a:gd name="connsiteY59" fmla="*/ 8999 h 10020"/>
                  <a:gd name="connsiteX60" fmla="*/ 5109 w 9585"/>
                  <a:gd name="connsiteY60" fmla="*/ 8993 h 10020"/>
                  <a:gd name="connsiteX61" fmla="*/ 5129 w 9585"/>
                  <a:gd name="connsiteY61" fmla="*/ 8993 h 10020"/>
                  <a:gd name="connsiteX62" fmla="*/ 5154 w 9585"/>
                  <a:gd name="connsiteY62" fmla="*/ 8986 h 10020"/>
                  <a:gd name="connsiteX63" fmla="*/ 5179 w 9585"/>
                  <a:gd name="connsiteY63" fmla="*/ 8986 h 10020"/>
                  <a:gd name="connsiteX64" fmla="*/ 5199 w 9585"/>
                  <a:gd name="connsiteY64" fmla="*/ 8986 h 10020"/>
                  <a:gd name="connsiteX65" fmla="*/ 5224 w 9585"/>
                  <a:gd name="connsiteY65" fmla="*/ 8986 h 10020"/>
                  <a:gd name="connsiteX66" fmla="*/ 5329 w 9585"/>
                  <a:gd name="connsiteY66" fmla="*/ 8993 h 10020"/>
                  <a:gd name="connsiteX67" fmla="*/ 5424 w 9585"/>
                  <a:gd name="connsiteY67" fmla="*/ 9026 h 10020"/>
                  <a:gd name="connsiteX68" fmla="*/ 5519 w 9585"/>
                  <a:gd name="connsiteY68" fmla="*/ 9072 h 10020"/>
                  <a:gd name="connsiteX69" fmla="*/ 5604 w 9585"/>
                  <a:gd name="connsiteY69" fmla="*/ 9139 h 10020"/>
                  <a:gd name="connsiteX70" fmla="*/ 5684 w 9585"/>
                  <a:gd name="connsiteY70" fmla="*/ 9218 h 10020"/>
                  <a:gd name="connsiteX71" fmla="*/ 5754 w 9585"/>
                  <a:gd name="connsiteY71" fmla="*/ 9304 h 10020"/>
                  <a:gd name="connsiteX72" fmla="*/ 5809 w 9585"/>
                  <a:gd name="connsiteY72" fmla="*/ 9417 h 10020"/>
                  <a:gd name="connsiteX73" fmla="*/ 5859 w 9585"/>
                  <a:gd name="connsiteY73" fmla="*/ 9529 h 10020"/>
                  <a:gd name="connsiteX74" fmla="*/ 3007 w 9585"/>
                  <a:gd name="connsiteY74" fmla="*/ 9529 h 10020"/>
                  <a:gd name="connsiteX75" fmla="*/ 3037 w 9585"/>
                  <a:gd name="connsiteY75" fmla="*/ 9443 h 10020"/>
                  <a:gd name="connsiteX76" fmla="*/ 3077 w 9585"/>
                  <a:gd name="connsiteY76" fmla="*/ 9357 h 10020"/>
                  <a:gd name="connsiteX77" fmla="*/ 3116 w 9585"/>
                  <a:gd name="connsiteY77" fmla="*/ 9291 h 10020"/>
                  <a:gd name="connsiteX78" fmla="*/ 3171 w 9585"/>
                  <a:gd name="connsiteY78" fmla="*/ 9225 h 10020"/>
                  <a:gd name="connsiteX79" fmla="*/ 3221 w 9585"/>
                  <a:gd name="connsiteY79" fmla="*/ 9172 h 10020"/>
                  <a:gd name="connsiteX80" fmla="*/ 3281 w 9585"/>
                  <a:gd name="connsiteY80" fmla="*/ 9119 h 10020"/>
                  <a:gd name="connsiteX81" fmla="*/ 3341 w 9585"/>
                  <a:gd name="connsiteY81" fmla="*/ 9079 h 10020"/>
                  <a:gd name="connsiteX82" fmla="*/ 3411 w 9585"/>
                  <a:gd name="connsiteY82" fmla="*/ 9046 h 10020"/>
                  <a:gd name="connsiteX83" fmla="*/ 3411 w 9585"/>
                  <a:gd name="connsiteY83" fmla="*/ 8197 h 10020"/>
                  <a:gd name="connsiteX84" fmla="*/ 1054 w 9585"/>
                  <a:gd name="connsiteY84" fmla="*/ 8211 h 10020"/>
                  <a:gd name="connsiteX85" fmla="*/ 1054 w 9585"/>
                  <a:gd name="connsiteY85" fmla="*/ 8840 h 10020"/>
                  <a:gd name="connsiteX86" fmla="*/ 1009 w 9585"/>
                  <a:gd name="connsiteY86" fmla="*/ 8920 h 10020"/>
                  <a:gd name="connsiteX87" fmla="*/ 974 w 9585"/>
                  <a:gd name="connsiteY87" fmla="*/ 9006 h 10020"/>
                  <a:gd name="connsiteX88" fmla="*/ 949 w 9585"/>
                  <a:gd name="connsiteY88" fmla="*/ 9099 h 10020"/>
                  <a:gd name="connsiteX89" fmla="*/ 939 w 9585"/>
                  <a:gd name="connsiteY89" fmla="*/ 9205 h 10020"/>
                  <a:gd name="connsiteX90" fmla="*/ 919 w 9585"/>
                  <a:gd name="connsiteY90" fmla="*/ 9198 h 10020"/>
                  <a:gd name="connsiteX91" fmla="*/ 904 w 9585"/>
                  <a:gd name="connsiteY91" fmla="*/ 9198 h 10020"/>
                  <a:gd name="connsiteX92" fmla="*/ 884 w 9585"/>
                  <a:gd name="connsiteY92" fmla="*/ 9192 h 10020"/>
                  <a:gd name="connsiteX93" fmla="*/ 864 w 9585"/>
                  <a:gd name="connsiteY93" fmla="*/ 9192 h 10020"/>
                  <a:gd name="connsiteX94" fmla="*/ 799 w 9585"/>
                  <a:gd name="connsiteY94" fmla="*/ 9198 h 10020"/>
                  <a:gd name="connsiteX95" fmla="*/ 744 w 9585"/>
                  <a:gd name="connsiteY95" fmla="*/ 9218 h 10020"/>
                  <a:gd name="connsiteX96" fmla="*/ 689 w 9585"/>
                  <a:gd name="connsiteY96" fmla="*/ 9245 h 10020"/>
                  <a:gd name="connsiteX97" fmla="*/ 639 w 9585"/>
                  <a:gd name="connsiteY97" fmla="*/ 9284 h 10020"/>
                  <a:gd name="connsiteX98" fmla="*/ 594 w 9585"/>
                  <a:gd name="connsiteY98" fmla="*/ 9337 h 10020"/>
                  <a:gd name="connsiteX99" fmla="*/ 554 w 9585"/>
                  <a:gd name="connsiteY99" fmla="*/ 9390 h 10020"/>
                  <a:gd name="connsiteX100" fmla="*/ 519 w 9585"/>
                  <a:gd name="connsiteY100" fmla="*/ 9457 h 10020"/>
                  <a:gd name="connsiteX101" fmla="*/ 489 w 9585"/>
                  <a:gd name="connsiteY101" fmla="*/ 9529 h 10020"/>
                  <a:gd name="connsiteX102" fmla="*/ 0 w 9585"/>
                  <a:gd name="connsiteY102" fmla="*/ 9529 h 10020"/>
                  <a:gd name="connsiteX103" fmla="*/ 470 w 9585"/>
                  <a:gd name="connsiteY103" fmla="*/ 9951 h 10020"/>
                  <a:gd name="connsiteX104" fmla="*/ 1345 w 9585"/>
                  <a:gd name="connsiteY104" fmla="*/ 10020 h 10020"/>
                  <a:gd name="connsiteX105" fmla="*/ 9310 w 9585"/>
                  <a:gd name="connsiteY105" fmla="*/ 10000 h 10020"/>
                  <a:gd name="connsiteX106" fmla="*/ 9585 w 9585"/>
                  <a:gd name="connsiteY106" fmla="*/ 9529 h 10020"/>
                  <a:gd name="connsiteX107" fmla="*/ 8131 w 9585"/>
                  <a:gd name="connsiteY107" fmla="*/ 9529 h 10020"/>
                  <a:gd name="connsiteX0" fmla="*/ 7993 w 9510"/>
                  <a:gd name="connsiteY0" fmla="*/ 9510 h 10000"/>
                  <a:gd name="connsiteX1" fmla="*/ 7993 w 9510"/>
                  <a:gd name="connsiteY1" fmla="*/ 7367 h 10000"/>
                  <a:gd name="connsiteX2" fmla="*/ 7352 w 9510"/>
                  <a:gd name="connsiteY2" fmla="*/ 7367 h 10000"/>
                  <a:gd name="connsiteX3" fmla="*/ 7352 w 9510"/>
                  <a:gd name="connsiteY3" fmla="*/ 4121 h 10000"/>
                  <a:gd name="connsiteX4" fmla="*/ 5769 w 9510"/>
                  <a:gd name="connsiteY4" fmla="*/ 4121 h 10000"/>
                  <a:gd name="connsiteX5" fmla="*/ 5769 w 9510"/>
                  <a:gd name="connsiteY5" fmla="*/ 3809 h 10000"/>
                  <a:gd name="connsiteX6" fmla="*/ 7034 w 9510"/>
                  <a:gd name="connsiteY6" fmla="*/ 3809 h 10000"/>
                  <a:gd name="connsiteX7" fmla="*/ 7034 w 9510"/>
                  <a:gd name="connsiteY7" fmla="*/ 3492 h 10000"/>
                  <a:gd name="connsiteX8" fmla="*/ 5769 w 9510"/>
                  <a:gd name="connsiteY8" fmla="*/ 3492 h 10000"/>
                  <a:gd name="connsiteX9" fmla="*/ 5769 w 9510"/>
                  <a:gd name="connsiteY9" fmla="*/ 1362 h 10000"/>
                  <a:gd name="connsiteX10" fmla="*/ 3907 w 9510"/>
                  <a:gd name="connsiteY10" fmla="*/ 549 h 10000"/>
                  <a:gd name="connsiteX11" fmla="*/ 3907 w 9510"/>
                  <a:gd name="connsiteY11" fmla="*/ 5662 h 10000"/>
                  <a:gd name="connsiteX12" fmla="*/ 3611 w 9510"/>
                  <a:gd name="connsiteY12" fmla="*/ 5668 h 10000"/>
                  <a:gd name="connsiteX13" fmla="*/ 3611 w 9510"/>
                  <a:gd name="connsiteY13" fmla="*/ 1752 h 10000"/>
                  <a:gd name="connsiteX14" fmla="*/ 2985 w 9510"/>
                  <a:gd name="connsiteY14" fmla="*/ 2057 h 10000"/>
                  <a:gd name="connsiteX15" fmla="*/ 2647 w 9510"/>
                  <a:gd name="connsiteY15" fmla="*/ 2057 h 10000"/>
                  <a:gd name="connsiteX16" fmla="*/ 2647 w 9510"/>
                  <a:gd name="connsiteY16" fmla="*/ 0 h 10000"/>
                  <a:gd name="connsiteX17" fmla="*/ 2522 w 9510"/>
                  <a:gd name="connsiteY17" fmla="*/ 0 h 10000"/>
                  <a:gd name="connsiteX18" fmla="*/ 2522 w 9510"/>
                  <a:gd name="connsiteY18" fmla="*/ 2057 h 10000"/>
                  <a:gd name="connsiteX19" fmla="*/ 2235 w 9510"/>
                  <a:gd name="connsiteY19" fmla="*/ 2057 h 10000"/>
                  <a:gd name="connsiteX20" fmla="*/ 2235 w 9510"/>
                  <a:gd name="connsiteY20" fmla="*/ 2487 h 10000"/>
                  <a:gd name="connsiteX21" fmla="*/ 1719 w 9510"/>
                  <a:gd name="connsiteY21" fmla="*/ 2810 h 10000"/>
                  <a:gd name="connsiteX22" fmla="*/ 1719 w 9510"/>
                  <a:gd name="connsiteY22" fmla="*/ 4405 h 10000"/>
                  <a:gd name="connsiteX23" fmla="*/ 1443 w 9510"/>
                  <a:gd name="connsiteY23" fmla="*/ 4405 h 10000"/>
                  <a:gd name="connsiteX24" fmla="*/ 1443 w 9510"/>
                  <a:gd name="connsiteY24" fmla="*/ 4828 h 10000"/>
                  <a:gd name="connsiteX25" fmla="*/ 1719 w 9510"/>
                  <a:gd name="connsiteY25" fmla="*/ 4828 h 10000"/>
                  <a:gd name="connsiteX26" fmla="*/ 1719 w 9510"/>
                  <a:gd name="connsiteY26" fmla="*/ 5357 h 10000"/>
                  <a:gd name="connsiteX27" fmla="*/ 1443 w 9510"/>
                  <a:gd name="connsiteY27" fmla="*/ 5357 h 10000"/>
                  <a:gd name="connsiteX28" fmla="*/ 1443 w 9510"/>
                  <a:gd name="connsiteY28" fmla="*/ 5780 h 10000"/>
                  <a:gd name="connsiteX29" fmla="*/ 1719 w 9510"/>
                  <a:gd name="connsiteY29" fmla="*/ 5780 h 10000"/>
                  <a:gd name="connsiteX30" fmla="*/ 1719 w 9510"/>
                  <a:gd name="connsiteY30" fmla="*/ 7030 h 10000"/>
                  <a:gd name="connsiteX31" fmla="*/ 895 w 9510"/>
                  <a:gd name="connsiteY31" fmla="*/ 7030 h 10000"/>
                  <a:gd name="connsiteX32" fmla="*/ 895 w 9510"/>
                  <a:gd name="connsiteY32" fmla="*/ 7804 h 10000"/>
                  <a:gd name="connsiteX33" fmla="*/ 1318 w 9510"/>
                  <a:gd name="connsiteY33" fmla="*/ 7824 h 10000"/>
                  <a:gd name="connsiteX34" fmla="*/ 1891 w 9510"/>
                  <a:gd name="connsiteY34" fmla="*/ 7301 h 10000"/>
                  <a:gd name="connsiteX35" fmla="*/ 1886 w 9510"/>
                  <a:gd name="connsiteY35" fmla="*/ 7804 h 10000"/>
                  <a:gd name="connsiteX36" fmla="*/ 2412 w 9510"/>
                  <a:gd name="connsiteY36" fmla="*/ 7354 h 10000"/>
                  <a:gd name="connsiteX37" fmla="*/ 2412 w 9510"/>
                  <a:gd name="connsiteY37" fmla="*/ 7804 h 10000"/>
                  <a:gd name="connsiteX38" fmla="*/ 2933 w 9510"/>
                  <a:gd name="connsiteY38" fmla="*/ 7347 h 10000"/>
                  <a:gd name="connsiteX39" fmla="*/ 2938 w 9510"/>
                  <a:gd name="connsiteY39" fmla="*/ 7797 h 10000"/>
                  <a:gd name="connsiteX40" fmla="*/ 3439 w 9510"/>
                  <a:gd name="connsiteY40" fmla="*/ 7314 h 10000"/>
                  <a:gd name="connsiteX41" fmla="*/ 3439 w 9510"/>
                  <a:gd name="connsiteY41" fmla="*/ 8598 h 10000"/>
                  <a:gd name="connsiteX42" fmla="*/ 3496 w 9510"/>
                  <a:gd name="connsiteY42" fmla="*/ 8505 h 10000"/>
                  <a:gd name="connsiteX43" fmla="*/ 3554 w 9510"/>
                  <a:gd name="connsiteY43" fmla="*/ 8419 h 10000"/>
                  <a:gd name="connsiteX44" fmla="*/ 3622 w 9510"/>
                  <a:gd name="connsiteY44" fmla="*/ 8346 h 10000"/>
                  <a:gd name="connsiteX45" fmla="*/ 3700 w 9510"/>
                  <a:gd name="connsiteY45" fmla="*/ 8280 h 10000"/>
                  <a:gd name="connsiteX46" fmla="*/ 3777 w 9510"/>
                  <a:gd name="connsiteY46" fmla="*/ 8234 h 10000"/>
                  <a:gd name="connsiteX47" fmla="*/ 3861 w 9510"/>
                  <a:gd name="connsiteY47" fmla="*/ 8201 h 10000"/>
                  <a:gd name="connsiteX48" fmla="*/ 3949 w 9510"/>
                  <a:gd name="connsiteY48" fmla="*/ 8175 h 10000"/>
                  <a:gd name="connsiteX49" fmla="*/ 4048 w 9510"/>
                  <a:gd name="connsiteY49" fmla="*/ 8168 h 10000"/>
                  <a:gd name="connsiteX50" fmla="*/ 4184 w 9510"/>
                  <a:gd name="connsiteY50" fmla="*/ 8181 h 10000"/>
                  <a:gd name="connsiteX51" fmla="*/ 4320 w 9510"/>
                  <a:gd name="connsiteY51" fmla="*/ 8228 h 10000"/>
                  <a:gd name="connsiteX52" fmla="*/ 4429 w 9510"/>
                  <a:gd name="connsiteY52" fmla="*/ 8306 h 10000"/>
                  <a:gd name="connsiteX53" fmla="*/ 4539 w 9510"/>
                  <a:gd name="connsiteY53" fmla="*/ 8406 h 10000"/>
                  <a:gd name="connsiteX54" fmla="*/ 4633 w 9510"/>
                  <a:gd name="connsiteY54" fmla="*/ 8525 h 10000"/>
                  <a:gd name="connsiteX55" fmla="*/ 4695 w 9510"/>
                  <a:gd name="connsiteY55" fmla="*/ 8671 h 10000"/>
                  <a:gd name="connsiteX56" fmla="*/ 4753 w 9510"/>
                  <a:gd name="connsiteY56" fmla="*/ 8822 h 10000"/>
                  <a:gd name="connsiteX57" fmla="*/ 4773 w 9510"/>
                  <a:gd name="connsiteY57" fmla="*/ 8988 h 10000"/>
                  <a:gd name="connsiteX58" fmla="*/ 4800 w 9510"/>
                  <a:gd name="connsiteY58" fmla="*/ 8981 h 10000"/>
                  <a:gd name="connsiteX59" fmla="*/ 4819 w 9510"/>
                  <a:gd name="connsiteY59" fmla="*/ 8981 h 10000"/>
                  <a:gd name="connsiteX60" fmla="*/ 4840 w 9510"/>
                  <a:gd name="connsiteY60" fmla="*/ 8975 h 10000"/>
                  <a:gd name="connsiteX61" fmla="*/ 4861 w 9510"/>
                  <a:gd name="connsiteY61" fmla="*/ 8975 h 10000"/>
                  <a:gd name="connsiteX62" fmla="*/ 4887 w 9510"/>
                  <a:gd name="connsiteY62" fmla="*/ 8968 h 10000"/>
                  <a:gd name="connsiteX63" fmla="*/ 4913 w 9510"/>
                  <a:gd name="connsiteY63" fmla="*/ 8968 h 10000"/>
                  <a:gd name="connsiteX64" fmla="*/ 4934 w 9510"/>
                  <a:gd name="connsiteY64" fmla="*/ 8968 h 10000"/>
                  <a:gd name="connsiteX65" fmla="*/ 4960 w 9510"/>
                  <a:gd name="connsiteY65" fmla="*/ 8968 h 10000"/>
                  <a:gd name="connsiteX66" fmla="*/ 5070 w 9510"/>
                  <a:gd name="connsiteY66" fmla="*/ 8975 h 10000"/>
                  <a:gd name="connsiteX67" fmla="*/ 5169 w 9510"/>
                  <a:gd name="connsiteY67" fmla="*/ 9008 h 10000"/>
                  <a:gd name="connsiteX68" fmla="*/ 5268 w 9510"/>
                  <a:gd name="connsiteY68" fmla="*/ 9054 h 10000"/>
                  <a:gd name="connsiteX69" fmla="*/ 5357 w 9510"/>
                  <a:gd name="connsiteY69" fmla="*/ 9121 h 10000"/>
                  <a:gd name="connsiteX70" fmla="*/ 5440 w 9510"/>
                  <a:gd name="connsiteY70" fmla="*/ 9200 h 10000"/>
                  <a:gd name="connsiteX71" fmla="*/ 5513 w 9510"/>
                  <a:gd name="connsiteY71" fmla="*/ 9285 h 10000"/>
                  <a:gd name="connsiteX72" fmla="*/ 5571 w 9510"/>
                  <a:gd name="connsiteY72" fmla="*/ 9398 h 10000"/>
                  <a:gd name="connsiteX73" fmla="*/ 5623 w 9510"/>
                  <a:gd name="connsiteY73" fmla="*/ 9510 h 10000"/>
                  <a:gd name="connsiteX74" fmla="*/ 2647 w 9510"/>
                  <a:gd name="connsiteY74" fmla="*/ 9510 h 10000"/>
                  <a:gd name="connsiteX75" fmla="*/ 2678 w 9510"/>
                  <a:gd name="connsiteY75" fmla="*/ 9424 h 10000"/>
                  <a:gd name="connsiteX76" fmla="*/ 2720 w 9510"/>
                  <a:gd name="connsiteY76" fmla="*/ 9338 h 10000"/>
                  <a:gd name="connsiteX77" fmla="*/ 2761 w 9510"/>
                  <a:gd name="connsiteY77" fmla="*/ 9272 h 10000"/>
                  <a:gd name="connsiteX78" fmla="*/ 2818 w 9510"/>
                  <a:gd name="connsiteY78" fmla="*/ 9207 h 10000"/>
                  <a:gd name="connsiteX79" fmla="*/ 2870 w 9510"/>
                  <a:gd name="connsiteY79" fmla="*/ 9154 h 10000"/>
                  <a:gd name="connsiteX80" fmla="*/ 2933 w 9510"/>
                  <a:gd name="connsiteY80" fmla="*/ 9101 h 10000"/>
                  <a:gd name="connsiteX81" fmla="*/ 2996 w 9510"/>
                  <a:gd name="connsiteY81" fmla="*/ 9061 h 10000"/>
                  <a:gd name="connsiteX82" fmla="*/ 3069 w 9510"/>
                  <a:gd name="connsiteY82" fmla="*/ 9028 h 10000"/>
                  <a:gd name="connsiteX83" fmla="*/ 3069 w 9510"/>
                  <a:gd name="connsiteY83" fmla="*/ 8181 h 10000"/>
                  <a:gd name="connsiteX84" fmla="*/ 610 w 9510"/>
                  <a:gd name="connsiteY84" fmla="*/ 8195 h 10000"/>
                  <a:gd name="connsiteX85" fmla="*/ 610 w 9510"/>
                  <a:gd name="connsiteY85" fmla="*/ 8822 h 10000"/>
                  <a:gd name="connsiteX86" fmla="*/ 563 w 9510"/>
                  <a:gd name="connsiteY86" fmla="*/ 8902 h 10000"/>
                  <a:gd name="connsiteX87" fmla="*/ 526 w 9510"/>
                  <a:gd name="connsiteY87" fmla="*/ 8988 h 10000"/>
                  <a:gd name="connsiteX88" fmla="*/ 500 w 9510"/>
                  <a:gd name="connsiteY88" fmla="*/ 9081 h 10000"/>
                  <a:gd name="connsiteX89" fmla="*/ 490 w 9510"/>
                  <a:gd name="connsiteY89" fmla="*/ 9187 h 10000"/>
                  <a:gd name="connsiteX90" fmla="*/ 469 w 9510"/>
                  <a:gd name="connsiteY90" fmla="*/ 9180 h 10000"/>
                  <a:gd name="connsiteX91" fmla="*/ 453 w 9510"/>
                  <a:gd name="connsiteY91" fmla="*/ 9180 h 10000"/>
                  <a:gd name="connsiteX92" fmla="*/ 432 w 9510"/>
                  <a:gd name="connsiteY92" fmla="*/ 9174 h 10000"/>
                  <a:gd name="connsiteX93" fmla="*/ 411 w 9510"/>
                  <a:gd name="connsiteY93" fmla="*/ 9174 h 10000"/>
                  <a:gd name="connsiteX94" fmla="*/ 344 w 9510"/>
                  <a:gd name="connsiteY94" fmla="*/ 9180 h 10000"/>
                  <a:gd name="connsiteX95" fmla="*/ 286 w 9510"/>
                  <a:gd name="connsiteY95" fmla="*/ 9200 h 10000"/>
                  <a:gd name="connsiteX96" fmla="*/ 229 w 9510"/>
                  <a:gd name="connsiteY96" fmla="*/ 9227 h 10000"/>
                  <a:gd name="connsiteX97" fmla="*/ 177 w 9510"/>
                  <a:gd name="connsiteY97" fmla="*/ 9265 h 10000"/>
                  <a:gd name="connsiteX98" fmla="*/ 130 w 9510"/>
                  <a:gd name="connsiteY98" fmla="*/ 9318 h 10000"/>
                  <a:gd name="connsiteX99" fmla="*/ 88 w 9510"/>
                  <a:gd name="connsiteY99" fmla="*/ 9371 h 10000"/>
                  <a:gd name="connsiteX100" fmla="*/ 51 w 9510"/>
                  <a:gd name="connsiteY100" fmla="*/ 9438 h 10000"/>
                  <a:gd name="connsiteX101" fmla="*/ 20 w 9510"/>
                  <a:gd name="connsiteY101" fmla="*/ 9510 h 10000"/>
                  <a:gd name="connsiteX102" fmla="*/ 203 w 9510"/>
                  <a:gd name="connsiteY102" fmla="*/ 9461 h 10000"/>
                  <a:gd name="connsiteX103" fmla="*/ 0 w 9510"/>
                  <a:gd name="connsiteY103" fmla="*/ 9931 h 10000"/>
                  <a:gd name="connsiteX104" fmla="*/ 913 w 9510"/>
                  <a:gd name="connsiteY104" fmla="*/ 10000 h 10000"/>
                  <a:gd name="connsiteX105" fmla="*/ 9223 w 9510"/>
                  <a:gd name="connsiteY105" fmla="*/ 9980 h 10000"/>
                  <a:gd name="connsiteX106" fmla="*/ 9510 w 9510"/>
                  <a:gd name="connsiteY106" fmla="*/ 9510 h 10000"/>
                  <a:gd name="connsiteX107" fmla="*/ 7993 w 9510"/>
                  <a:gd name="connsiteY107" fmla="*/ 9510 h 10000"/>
                  <a:gd name="connsiteX0" fmla="*/ 8405 w 10000"/>
                  <a:gd name="connsiteY0" fmla="*/ 9510 h 10000"/>
                  <a:gd name="connsiteX1" fmla="*/ 8405 w 10000"/>
                  <a:gd name="connsiteY1" fmla="*/ 7367 h 10000"/>
                  <a:gd name="connsiteX2" fmla="*/ 7731 w 10000"/>
                  <a:gd name="connsiteY2" fmla="*/ 7367 h 10000"/>
                  <a:gd name="connsiteX3" fmla="*/ 7731 w 10000"/>
                  <a:gd name="connsiteY3" fmla="*/ 4121 h 10000"/>
                  <a:gd name="connsiteX4" fmla="*/ 6066 w 10000"/>
                  <a:gd name="connsiteY4" fmla="*/ 4121 h 10000"/>
                  <a:gd name="connsiteX5" fmla="*/ 6066 w 10000"/>
                  <a:gd name="connsiteY5" fmla="*/ 3809 h 10000"/>
                  <a:gd name="connsiteX6" fmla="*/ 7396 w 10000"/>
                  <a:gd name="connsiteY6" fmla="*/ 3809 h 10000"/>
                  <a:gd name="connsiteX7" fmla="*/ 7396 w 10000"/>
                  <a:gd name="connsiteY7" fmla="*/ 3492 h 10000"/>
                  <a:gd name="connsiteX8" fmla="*/ 6066 w 10000"/>
                  <a:gd name="connsiteY8" fmla="*/ 3492 h 10000"/>
                  <a:gd name="connsiteX9" fmla="*/ 6066 w 10000"/>
                  <a:gd name="connsiteY9" fmla="*/ 1362 h 10000"/>
                  <a:gd name="connsiteX10" fmla="*/ 4108 w 10000"/>
                  <a:gd name="connsiteY10" fmla="*/ 549 h 10000"/>
                  <a:gd name="connsiteX11" fmla="*/ 4108 w 10000"/>
                  <a:gd name="connsiteY11" fmla="*/ 5662 h 10000"/>
                  <a:gd name="connsiteX12" fmla="*/ 3797 w 10000"/>
                  <a:gd name="connsiteY12" fmla="*/ 5668 h 10000"/>
                  <a:gd name="connsiteX13" fmla="*/ 3797 w 10000"/>
                  <a:gd name="connsiteY13" fmla="*/ 1752 h 10000"/>
                  <a:gd name="connsiteX14" fmla="*/ 3139 w 10000"/>
                  <a:gd name="connsiteY14" fmla="*/ 2057 h 10000"/>
                  <a:gd name="connsiteX15" fmla="*/ 2783 w 10000"/>
                  <a:gd name="connsiteY15" fmla="*/ 2057 h 10000"/>
                  <a:gd name="connsiteX16" fmla="*/ 2783 w 10000"/>
                  <a:gd name="connsiteY16" fmla="*/ 0 h 10000"/>
                  <a:gd name="connsiteX17" fmla="*/ 2652 w 10000"/>
                  <a:gd name="connsiteY17" fmla="*/ 0 h 10000"/>
                  <a:gd name="connsiteX18" fmla="*/ 2652 w 10000"/>
                  <a:gd name="connsiteY18" fmla="*/ 2057 h 10000"/>
                  <a:gd name="connsiteX19" fmla="*/ 2350 w 10000"/>
                  <a:gd name="connsiteY19" fmla="*/ 2057 h 10000"/>
                  <a:gd name="connsiteX20" fmla="*/ 2350 w 10000"/>
                  <a:gd name="connsiteY20" fmla="*/ 2487 h 10000"/>
                  <a:gd name="connsiteX21" fmla="*/ 1808 w 10000"/>
                  <a:gd name="connsiteY21" fmla="*/ 2810 h 10000"/>
                  <a:gd name="connsiteX22" fmla="*/ 1808 w 10000"/>
                  <a:gd name="connsiteY22" fmla="*/ 4405 h 10000"/>
                  <a:gd name="connsiteX23" fmla="*/ 1517 w 10000"/>
                  <a:gd name="connsiteY23" fmla="*/ 4405 h 10000"/>
                  <a:gd name="connsiteX24" fmla="*/ 1517 w 10000"/>
                  <a:gd name="connsiteY24" fmla="*/ 4828 h 10000"/>
                  <a:gd name="connsiteX25" fmla="*/ 1808 w 10000"/>
                  <a:gd name="connsiteY25" fmla="*/ 4828 h 10000"/>
                  <a:gd name="connsiteX26" fmla="*/ 1808 w 10000"/>
                  <a:gd name="connsiteY26" fmla="*/ 5357 h 10000"/>
                  <a:gd name="connsiteX27" fmla="*/ 1517 w 10000"/>
                  <a:gd name="connsiteY27" fmla="*/ 5357 h 10000"/>
                  <a:gd name="connsiteX28" fmla="*/ 1517 w 10000"/>
                  <a:gd name="connsiteY28" fmla="*/ 5780 h 10000"/>
                  <a:gd name="connsiteX29" fmla="*/ 1808 w 10000"/>
                  <a:gd name="connsiteY29" fmla="*/ 5780 h 10000"/>
                  <a:gd name="connsiteX30" fmla="*/ 1808 w 10000"/>
                  <a:gd name="connsiteY30" fmla="*/ 7030 h 10000"/>
                  <a:gd name="connsiteX31" fmla="*/ 941 w 10000"/>
                  <a:gd name="connsiteY31" fmla="*/ 7030 h 10000"/>
                  <a:gd name="connsiteX32" fmla="*/ 941 w 10000"/>
                  <a:gd name="connsiteY32" fmla="*/ 7804 h 10000"/>
                  <a:gd name="connsiteX33" fmla="*/ 1386 w 10000"/>
                  <a:gd name="connsiteY33" fmla="*/ 7824 h 10000"/>
                  <a:gd name="connsiteX34" fmla="*/ 1988 w 10000"/>
                  <a:gd name="connsiteY34" fmla="*/ 7301 h 10000"/>
                  <a:gd name="connsiteX35" fmla="*/ 1983 w 10000"/>
                  <a:gd name="connsiteY35" fmla="*/ 7804 h 10000"/>
                  <a:gd name="connsiteX36" fmla="*/ 2536 w 10000"/>
                  <a:gd name="connsiteY36" fmla="*/ 7354 h 10000"/>
                  <a:gd name="connsiteX37" fmla="*/ 2536 w 10000"/>
                  <a:gd name="connsiteY37" fmla="*/ 7804 h 10000"/>
                  <a:gd name="connsiteX38" fmla="*/ 3084 w 10000"/>
                  <a:gd name="connsiteY38" fmla="*/ 7347 h 10000"/>
                  <a:gd name="connsiteX39" fmla="*/ 3089 w 10000"/>
                  <a:gd name="connsiteY39" fmla="*/ 7797 h 10000"/>
                  <a:gd name="connsiteX40" fmla="*/ 3616 w 10000"/>
                  <a:gd name="connsiteY40" fmla="*/ 7314 h 10000"/>
                  <a:gd name="connsiteX41" fmla="*/ 3616 w 10000"/>
                  <a:gd name="connsiteY41" fmla="*/ 8598 h 10000"/>
                  <a:gd name="connsiteX42" fmla="*/ 3676 w 10000"/>
                  <a:gd name="connsiteY42" fmla="*/ 8505 h 10000"/>
                  <a:gd name="connsiteX43" fmla="*/ 3737 w 10000"/>
                  <a:gd name="connsiteY43" fmla="*/ 8419 h 10000"/>
                  <a:gd name="connsiteX44" fmla="*/ 3809 w 10000"/>
                  <a:gd name="connsiteY44" fmla="*/ 8346 h 10000"/>
                  <a:gd name="connsiteX45" fmla="*/ 3891 w 10000"/>
                  <a:gd name="connsiteY45" fmla="*/ 8280 h 10000"/>
                  <a:gd name="connsiteX46" fmla="*/ 3972 w 10000"/>
                  <a:gd name="connsiteY46" fmla="*/ 8234 h 10000"/>
                  <a:gd name="connsiteX47" fmla="*/ 4060 w 10000"/>
                  <a:gd name="connsiteY47" fmla="*/ 8201 h 10000"/>
                  <a:gd name="connsiteX48" fmla="*/ 4152 w 10000"/>
                  <a:gd name="connsiteY48" fmla="*/ 8175 h 10000"/>
                  <a:gd name="connsiteX49" fmla="*/ 4257 w 10000"/>
                  <a:gd name="connsiteY49" fmla="*/ 8168 h 10000"/>
                  <a:gd name="connsiteX50" fmla="*/ 4400 w 10000"/>
                  <a:gd name="connsiteY50" fmla="*/ 8181 h 10000"/>
                  <a:gd name="connsiteX51" fmla="*/ 4543 w 10000"/>
                  <a:gd name="connsiteY51" fmla="*/ 8228 h 10000"/>
                  <a:gd name="connsiteX52" fmla="*/ 4657 w 10000"/>
                  <a:gd name="connsiteY52" fmla="*/ 8306 h 10000"/>
                  <a:gd name="connsiteX53" fmla="*/ 4773 w 10000"/>
                  <a:gd name="connsiteY53" fmla="*/ 8406 h 10000"/>
                  <a:gd name="connsiteX54" fmla="*/ 4872 w 10000"/>
                  <a:gd name="connsiteY54" fmla="*/ 8525 h 10000"/>
                  <a:gd name="connsiteX55" fmla="*/ 4937 w 10000"/>
                  <a:gd name="connsiteY55" fmla="*/ 8671 h 10000"/>
                  <a:gd name="connsiteX56" fmla="*/ 4998 w 10000"/>
                  <a:gd name="connsiteY56" fmla="*/ 8822 h 10000"/>
                  <a:gd name="connsiteX57" fmla="*/ 5019 w 10000"/>
                  <a:gd name="connsiteY57" fmla="*/ 8988 h 10000"/>
                  <a:gd name="connsiteX58" fmla="*/ 5047 w 10000"/>
                  <a:gd name="connsiteY58" fmla="*/ 8981 h 10000"/>
                  <a:gd name="connsiteX59" fmla="*/ 5067 w 10000"/>
                  <a:gd name="connsiteY59" fmla="*/ 8981 h 10000"/>
                  <a:gd name="connsiteX60" fmla="*/ 5089 w 10000"/>
                  <a:gd name="connsiteY60" fmla="*/ 8975 h 10000"/>
                  <a:gd name="connsiteX61" fmla="*/ 5111 w 10000"/>
                  <a:gd name="connsiteY61" fmla="*/ 8975 h 10000"/>
                  <a:gd name="connsiteX62" fmla="*/ 5139 w 10000"/>
                  <a:gd name="connsiteY62" fmla="*/ 8968 h 10000"/>
                  <a:gd name="connsiteX63" fmla="*/ 5166 w 10000"/>
                  <a:gd name="connsiteY63" fmla="*/ 8968 h 10000"/>
                  <a:gd name="connsiteX64" fmla="*/ 5188 w 10000"/>
                  <a:gd name="connsiteY64" fmla="*/ 8968 h 10000"/>
                  <a:gd name="connsiteX65" fmla="*/ 5216 w 10000"/>
                  <a:gd name="connsiteY65" fmla="*/ 8968 h 10000"/>
                  <a:gd name="connsiteX66" fmla="*/ 5331 w 10000"/>
                  <a:gd name="connsiteY66" fmla="*/ 8975 h 10000"/>
                  <a:gd name="connsiteX67" fmla="*/ 5435 w 10000"/>
                  <a:gd name="connsiteY67" fmla="*/ 9008 h 10000"/>
                  <a:gd name="connsiteX68" fmla="*/ 5539 w 10000"/>
                  <a:gd name="connsiteY68" fmla="*/ 9054 h 10000"/>
                  <a:gd name="connsiteX69" fmla="*/ 5633 w 10000"/>
                  <a:gd name="connsiteY69" fmla="*/ 9121 h 10000"/>
                  <a:gd name="connsiteX70" fmla="*/ 5720 w 10000"/>
                  <a:gd name="connsiteY70" fmla="*/ 9200 h 10000"/>
                  <a:gd name="connsiteX71" fmla="*/ 5797 w 10000"/>
                  <a:gd name="connsiteY71" fmla="*/ 9285 h 10000"/>
                  <a:gd name="connsiteX72" fmla="*/ 5858 w 10000"/>
                  <a:gd name="connsiteY72" fmla="*/ 9398 h 10000"/>
                  <a:gd name="connsiteX73" fmla="*/ 5913 w 10000"/>
                  <a:gd name="connsiteY73" fmla="*/ 9510 h 10000"/>
                  <a:gd name="connsiteX74" fmla="*/ 2783 w 10000"/>
                  <a:gd name="connsiteY74" fmla="*/ 9510 h 10000"/>
                  <a:gd name="connsiteX75" fmla="*/ 2816 w 10000"/>
                  <a:gd name="connsiteY75" fmla="*/ 9424 h 10000"/>
                  <a:gd name="connsiteX76" fmla="*/ 2860 w 10000"/>
                  <a:gd name="connsiteY76" fmla="*/ 9338 h 10000"/>
                  <a:gd name="connsiteX77" fmla="*/ 2903 w 10000"/>
                  <a:gd name="connsiteY77" fmla="*/ 9272 h 10000"/>
                  <a:gd name="connsiteX78" fmla="*/ 2963 w 10000"/>
                  <a:gd name="connsiteY78" fmla="*/ 9207 h 10000"/>
                  <a:gd name="connsiteX79" fmla="*/ 3018 w 10000"/>
                  <a:gd name="connsiteY79" fmla="*/ 9154 h 10000"/>
                  <a:gd name="connsiteX80" fmla="*/ 3084 w 10000"/>
                  <a:gd name="connsiteY80" fmla="*/ 9101 h 10000"/>
                  <a:gd name="connsiteX81" fmla="*/ 3150 w 10000"/>
                  <a:gd name="connsiteY81" fmla="*/ 9061 h 10000"/>
                  <a:gd name="connsiteX82" fmla="*/ 3227 w 10000"/>
                  <a:gd name="connsiteY82" fmla="*/ 9028 h 10000"/>
                  <a:gd name="connsiteX83" fmla="*/ 3227 w 10000"/>
                  <a:gd name="connsiteY83" fmla="*/ 8181 h 10000"/>
                  <a:gd name="connsiteX84" fmla="*/ 641 w 10000"/>
                  <a:gd name="connsiteY84" fmla="*/ 8195 h 10000"/>
                  <a:gd name="connsiteX85" fmla="*/ 641 w 10000"/>
                  <a:gd name="connsiteY85" fmla="*/ 8822 h 10000"/>
                  <a:gd name="connsiteX86" fmla="*/ 592 w 10000"/>
                  <a:gd name="connsiteY86" fmla="*/ 8902 h 10000"/>
                  <a:gd name="connsiteX87" fmla="*/ 553 w 10000"/>
                  <a:gd name="connsiteY87" fmla="*/ 8988 h 10000"/>
                  <a:gd name="connsiteX88" fmla="*/ 526 w 10000"/>
                  <a:gd name="connsiteY88" fmla="*/ 9081 h 10000"/>
                  <a:gd name="connsiteX89" fmla="*/ 515 w 10000"/>
                  <a:gd name="connsiteY89" fmla="*/ 9187 h 10000"/>
                  <a:gd name="connsiteX90" fmla="*/ 493 w 10000"/>
                  <a:gd name="connsiteY90" fmla="*/ 9180 h 10000"/>
                  <a:gd name="connsiteX91" fmla="*/ 476 w 10000"/>
                  <a:gd name="connsiteY91" fmla="*/ 9180 h 10000"/>
                  <a:gd name="connsiteX92" fmla="*/ 454 w 10000"/>
                  <a:gd name="connsiteY92" fmla="*/ 9174 h 10000"/>
                  <a:gd name="connsiteX93" fmla="*/ 432 w 10000"/>
                  <a:gd name="connsiteY93" fmla="*/ 9174 h 10000"/>
                  <a:gd name="connsiteX94" fmla="*/ 362 w 10000"/>
                  <a:gd name="connsiteY94" fmla="*/ 9180 h 10000"/>
                  <a:gd name="connsiteX95" fmla="*/ 301 w 10000"/>
                  <a:gd name="connsiteY95" fmla="*/ 9200 h 10000"/>
                  <a:gd name="connsiteX96" fmla="*/ 241 w 10000"/>
                  <a:gd name="connsiteY96" fmla="*/ 9227 h 10000"/>
                  <a:gd name="connsiteX97" fmla="*/ 186 w 10000"/>
                  <a:gd name="connsiteY97" fmla="*/ 9265 h 10000"/>
                  <a:gd name="connsiteX98" fmla="*/ 137 w 10000"/>
                  <a:gd name="connsiteY98" fmla="*/ 9318 h 10000"/>
                  <a:gd name="connsiteX99" fmla="*/ 93 w 10000"/>
                  <a:gd name="connsiteY99" fmla="*/ 9371 h 10000"/>
                  <a:gd name="connsiteX100" fmla="*/ 54 w 10000"/>
                  <a:gd name="connsiteY100" fmla="*/ 9438 h 10000"/>
                  <a:gd name="connsiteX101" fmla="*/ 21 w 10000"/>
                  <a:gd name="connsiteY101" fmla="*/ 9510 h 10000"/>
                  <a:gd name="connsiteX102" fmla="*/ 213 w 10000"/>
                  <a:gd name="connsiteY102" fmla="*/ 9461 h 10000"/>
                  <a:gd name="connsiteX103" fmla="*/ 0 w 10000"/>
                  <a:gd name="connsiteY103" fmla="*/ 9931 h 10000"/>
                  <a:gd name="connsiteX104" fmla="*/ 960 w 10000"/>
                  <a:gd name="connsiteY104" fmla="*/ 10000 h 10000"/>
                  <a:gd name="connsiteX105" fmla="*/ 7149 w 10000"/>
                  <a:gd name="connsiteY105" fmla="*/ 9980 h 10000"/>
                  <a:gd name="connsiteX106" fmla="*/ 10000 w 10000"/>
                  <a:gd name="connsiteY106" fmla="*/ 9510 h 10000"/>
                  <a:gd name="connsiteX107" fmla="*/ 8405 w 10000"/>
                  <a:gd name="connsiteY107" fmla="*/ 9510 h 10000"/>
                  <a:gd name="connsiteX0" fmla="*/ 8405 w 8405"/>
                  <a:gd name="connsiteY0" fmla="*/ 9510 h 10000"/>
                  <a:gd name="connsiteX1" fmla="*/ 8405 w 8405"/>
                  <a:gd name="connsiteY1" fmla="*/ 7367 h 10000"/>
                  <a:gd name="connsiteX2" fmla="*/ 7731 w 8405"/>
                  <a:gd name="connsiteY2" fmla="*/ 7367 h 10000"/>
                  <a:gd name="connsiteX3" fmla="*/ 7731 w 8405"/>
                  <a:gd name="connsiteY3" fmla="*/ 4121 h 10000"/>
                  <a:gd name="connsiteX4" fmla="*/ 6066 w 8405"/>
                  <a:gd name="connsiteY4" fmla="*/ 4121 h 10000"/>
                  <a:gd name="connsiteX5" fmla="*/ 6066 w 8405"/>
                  <a:gd name="connsiteY5" fmla="*/ 3809 h 10000"/>
                  <a:gd name="connsiteX6" fmla="*/ 7396 w 8405"/>
                  <a:gd name="connsiteY6" fmla="*/ 3809 h 10000"/>
                  <a:gd name="connsiteX7" fmla="*/ 7396 w 8405"/>
                  <a:gd name="connsiteY7" fmla="*/ 3492 h 10000"/>
                  <a:gd name="connsiteX8" fmla="*/ 6066 w 8405"/>
                  <a:gd name="connsiteY8" fmla="*/ 3492 h 10000"/>
                  <a:gd name="connsiteX9" fmla="*/ 6066 w 8405"/>
                  <a:gd name="connsiteY9" fmla="*/ 1362 h 10000"/>
                  <a:gd name="connsiteX10" fmla="*/ 4108 w 8405"/>
                  <a:gd name="connsiteY10" fmla="*/ 549 h 10000"/>
                  <a:gd name="connsiteX11" fmla="*/ 4108 w 8405"/>
                  <a:gd name="connsiteY11" fmla="*/ 5662 h 10000"/>
                  <a:gd name="connsiteX12" fmla="*/ 3797 w 8405"/>
                  <a:gd name="connsiteY12" fmla="*/ 5668 h 10000"/>
                  <a:gd name="connsiteX13" fmla="*/ 3797 w 8405"/>
                  <a:gd name="connsiteY13" fmla="*/ 1752 h 10000"/>
                  <a:gd name="connsiteX14" fmla="*/ 3139 w 8405"/>
                  <a:gd name="connsiteY14" fmla="*/ 2057 h 10000"/>
                  <a:gd name="connsiteX15" fmla="*/ 2783 w 8405"/>
                  <a:gd name="connsiteY15" fmla="*/ 2057 h 10000"/>
                  <a:gd name="connsiteX16" fmla="*/ 2783 w 8405"/>
                  <a:gd name="connsiteY16" fmla="*/ 0 h 10000"/>
                  <a:gd name="connsiteX17" fmla="*/ 2652 w 8405"/>
                  <a:gd name="connsiteY17" fmla="*/ 0 h 10000"/>
                  <a:gd name="connsiteX18" fmla="*/ 2652 w 8405"/>
                  <a:gd name="connsiteY18" fmla="*/ 2057 h 10000"/>
                  <a:gd name="connsiteX19" fmla="*/ 2350 w 8405"/>
                  <a:gd name="connsiteY19" fmla="*/ 2057 h 10000"/>
                  <a:gd name="connsiteX20" fmla="*/ 2350 w 8405"/>
                  <a:gd name="connsiteY20" fmla="*/ 2487 h 10000"/>
                  <a:gd name="connsiteX21" fmla="*/ 1808 w 8405"/>
                  <a:gd name="connsiteY21" fmla="*/ 2810 h 10000"/>
                  <a:gd name="connsiteX22" fmla="*/ 1808 w 8405"/>
                  <a:gd name="connsiteY22" fmla="*/ 4405 h 10000"/>
                  <a:gd name="connsiteX23" fmla="*/ 1517 w 8405"/>
                  <a:gd name="connsiteY23" fmla="*/ 4405 h 10000"/>
                  <a:gd name="connsiteX24" fmla="*/ 1517 w 8405"/>
                  <a:gd name="connsiteY24" fmla="*/ 4828 h 10000"/>
                  <a:gd name="connsiteX25" fmla="*/ 1808 w 8405"/>
                  <a:gd name="connsiteY25" fmla="*/ 4828 h 10000"/>
                  <a:gd name="connsiteX26" fmla="*/ 1808 w 8405"/>
                  <a:gd name="connsiteY26" fmla="*/ 5357 h 10000"/>
                  <a:gd name="connsiteX27" fmla="*/ 1517 w 8405"/>
                  <a:gd name="connsiteY27" fmla="*/ 5357 h 10000"/>
                  <a:gd name="connsiteX28" fmla="*/ 1517 w 8405"/>
                  <a:gd name="connsiteY28" fmla="*/ 5780 h 10000"/>
                  <a:gd name="connsiteX29" fmla="*/ 1808 w 8405"/>
                  <a:gd name="connsiteY29" fmla="*/ 5780 h 10000"/>
                  <a:gd name="connsiteX30" fmla="*/ 1808 w 8405"/>
                  <a:gd name="connsiteY30" fmla="*/ 7030 h 10000"/>
                  <a:gd name="connsiteX31" fmla="*/ 941 w 8405"/>
                  <a:gd name="connsiteY31" fmla="*/ 7030 h 10000"/>
                  <a:gd name="connsiteX32" fmla="*/ 941 w 8405"/>
                  <a:gd name="connsiteY32" fmla="*/ 7804 h 10000"/>
                  <a:gd name="connsiteX33" fmla="*/ 1386 w 8405"/>
                  <a:gd name="connsiteY33" fmla="*/ 7824 h 10000"/>
                  <a:gd name="connsiteX34" fmla="*/ 1988 w 8405"/>
                  <a:gd name="connsiteY34" fmla="*/ 7301 h 10000"/>
                  <a:gd name="connsiteX35" fmla="*/ 1983 w 8405"/>
                  <a:gd name="connsiteY35" fmla="*/ 7804 h 10000"/>
                  <a:gd name="connsiteX36" fmla="*/ 2536 w 8405"/>
                  <a:gd name="connsiteY36" fmla="*/ 7354 h 10000"/>
                  <a:gd name="connsiteX37" fmla="*/ 2536 w 8405"/>
                  <a:gd name="connsiteY37" fmla="*/ 7804 h 10000"/>
                  <a:gd name="connsiteX38" fmla="*/ 3084 w 8405"/>
                  <a:gd name="connsiteY38" fmla="*/ 7347 h 10000"/>
                  <a:gd name="connsiteX39" fmla="*/ 3089 w 8405"/>
                  <a:gd name="connsiteY39" fmla="*/ 7797 h 10000"/>
                  <a:gd name="connsiteX40" fmla="*/ 3616 w 8405"/>
                  <a:gd name="connsiteY40" fmla="*/ 7314 h 10000"/>
                  <a:gd name="connsiteX41" fmla="*/ 3616 w 8405"/>
                  <a:gd name="connsiteY41" fmla="*/ 8598 h 10000"/>
                  <a:gd name="connsiteX42" fmla="*/ 3676 w 8405"/>
                  <a:gd name="connsiteY42" fmla="*/ 8505 h 10000"/>
                  <a:gd name="connsiteX43" fmla="*/ 3737 w 8405"/>
                  <a:gd name="connsiteY43" fmla="*/ 8419 h 10000"/>
                  <a:gd name="connsiteX44" fmla="*/ 3809 w 8405"/>
                  <a:gd name="connsiteY44" fmla="*/ 8346 h 10000"/>
                  <a:gd name="connsiteX45" fmla="*/ 3891 w 8405"/>
                  <a:gd name="connsiteY45" fmla="*/ 8280 h 10000"/>
                  <a:gd name="connsiteX46" fmla="*/ 3972 w 8405"/>
                  <a:gd name="connsiteY46" fmla="*/ 8234 h 10000"/>
                  <a:gd name="connsiteX47" fmla="*/ 4060 w 8405"/>
                  <a:gd name="connsiteY47" fmla="*/ 8201 h 10000"/>
                  <a:gd name="connsiteX48" fmla="*/ 4152 w 8405"/>
                  <a:gd name="connsiteY48" fmla="*/ 8175 h 10000"/>
                  <a:gd name="connsiteX49" fmla="*/ 4257 w 8405"/>
                  <a:gd name="connsiteY49" fmla="*/ 8168 h 10000"/>
                  <a:gd name="connsiteX50" fmla="*/ 4400 w 8405"/>
                  <a:gd name="connsiteY50" fmla="*/ 8181 h 10000"/>
                  <a:gd name="connsiteX51" fmla="*/ 4543 w 8405"/>
                  <a:gd name="connsiteY51" fmla="*/ 8228 h 10000"/>
                  <a:gd name="connsiteX52" fmla="*/ 4657 w 8405"/>
                  <a:gd name="connsiteY52" fmla="*/ 8306 h 10000"/>
                  <a:gd name="connsiteX53" fmla="*/ 4773 w 8405"/>
                  <a:gd name="connsiteY53" fmla="*/ 8406 h 10000"/>
                  <a:gd name="connsiteX54" fmla="*/ 4872 w 8405"/>
                  <a:gd name="connsiteY54" fmla="*/ 8525 h 10000"/>
                  <a:gd name="connsiteX55" fmla="*/ 4937 w 8405"/>
                  <a:gd name="connsiteY55" fmla="*/ 8671 h 10000"/>
                  <a:gd name="connsiteX56" fmla="*/ 4998 w 8405"/>
                  <a:gd name="connsiteY56" fmla="*/ 8822 h 10000"/>
                  <a:gd name="connsiteX57" fmla="*/ 5019 w 8405"/>
                  <a:gd name="connsiteY57" fmla="*/ 8988 h 10000"/>
                  <a:gd name="connsiteX58" fmla="*/ 5047 w 8405"/>
                  <a:gd name="connsiteY58" fmla="*/ 8981 h 10000"/>
                  <a:gd name="connsiteX59" fmla="*/ 5067 w 8405"/>
                  <a:gd name="connsiteY59" fmla="*/ 8981 h 10000"/>
                  <a:gd name="connsiteX60" fmla="*/ 5089 w 8405"/>
                  <a:gd name="connsiteY60" fmla="*/ 8975 h 10000"/>
                  <a:gd name="connsiteX61" fmla="*/ 5111 w 8405"/>
                  <a:gd name="connsiteY61" fmla="*/ 8975 h 10000"/>
                  <a:gd name="connsiteX62" fmla="*/ 5139 w 8405"/>
                  <a:gd name="connsiteY62" fmla="*/ 8968 h 10000"/>
                  <a:gd name="connsiteX63" fmla="*/ 5166 w 8405"/>
                  <a:gd name="connsiteY63" fmla="*/ 8968 h 10000"/>
                  <a:gd name="connsiteX64" fmla="*/ 5188 w 8405"/>
                  <a:gd name="connsiteY64" fmla="*/ 8968 h 10000"/>
                  <a:gd name="connsiteX65" fmla="*/ 5216 w 8405"/>
                  <a:gd name="connsiteY65" fmla="*/ 8968 h 10000"/>
                  <a:gd name="connsiteX66" fmla="*/ 5331 w 8405"/>
                  <a:gd name="connsiteY66" fmla="*/ 8975 h 10000"/>
                  <a:gd name="connsiteX67" fmla="*/ 5435 w 8405"/>
                  <a:gd name="connsiteY67" fmla="*/ 9008 h 10000"/>
                  <a:gd name="connsiteX68" fmla="*/ 5539 w 8405"/>
                  <a:gd name="connsiteY68" fmla="*/ 9054 h 10000"/>
                  <a:gd name="connsiteX69" fmla="*/ 5633 w 8405"/>
                  <a:gd name="connsiteY69" fmla="*/ 9121 h 10000"/>
                  <a:gd name="connsiteX70" fmla="*/ 5720 w 8405"/>
                  <a:gd name="connsiteY70" fmla="*/ 9200 h 10000"/>
                  <a:gd name="connsiteX71" fmla="*/ 5797 w 8405"/>
                  <a:gd name="connsiteY71" fmla="*/ 9285 h 10000"/>
                  <a:gd name="connsiteX72" fmla="*/ 5858 w 8405"/>
                  <a:gd name="connsiteY72" fmla="*/ 9398 h 10000"/>
                  <a:gd name="connsiteX73" fmla="*/ 5913 w 8405"/>
                  <a:gd name="connsiteY73" fmla="*/ 9510 h 10000"/>
                  <a:gd name="connsiteX74" fmla="*/ 2783 w 8405"/>
                  <a:gd name="connsiteY74" fmla="*/ 9510 h 10000"/>
                  <a:gd name="connsiteX75" fmla="*/ 2816 w 8405"/>
                  <a:gd name="connsiteY75" fmla="*/ 9424 h 10000"/>
                  <a:gd name="connsiteX76" fmla="*/ 2860 w 8405"/>
                  <a:gd name="connsiteY76" fmla="*/ 9338 h 10000"/>
                  <a:gd name="connsiteX77" fmla="*/ 2903 w 8405"/>
                  <a:gd name="connsiteY77" fmla="*/ 9272 h 10000"/>
                  <a:gd name="connsiteX78" fmla="*/ 2963 w 8405"/>
                  <a:gd name="connsiteY78" fmla="*/ 9207 h 10000"/>
                  <a:gd name="connsiteX79" fmla="*/ 3018 w 8405"/>
                  <a:gd name="connsiteY79" fmla="*/ 9154 h 10000"/>
                  <a:gd name="connsiteX80" fmla="*/ 3084 w 8405"/>
                  <a:gd name="connsiteY80" fmla="*/ 9101 h 10000"/>
                  <a:gd name="connsiteX81" fmla="*/ 3150 w 8405"/>
                  <a:gd name="connsiteY81" fmla="*/ 9061 h 10000"/>
                  <a:gd name="connsiteX82" fmla="*/ 3227 w 8405"/>
                  <a:gd name="connsiteY82" fmla="*/ 9028 h 10000"/>
                  <a:gd name="connsiteX83" fmla="*/ 3227 w 8405"/>
                  <a:gd name="connsiteY83" fmla="*/ 8181 h 10000"/>
                  <a:gd name="connsiteX84" fmla="*/ 641 w 8405"/>
                  <a:gd name="connsiteY84" fmla="*/ 8195 h 10000"/>
                  <a:gd name="connsiteX85" fmla="*/ 641 w 8405"/>
                  <a:gd name="connsiteY85" fmla="*/ 8822 h 10000"/>
                  <a:gd name="connsiteX86" fmla="*/ 592 w 8405"/>
                  <a:gd name="connsiteY86" fmla="*/ 8902 h 10000"/>
                  <a:gd name="connsiteX87" fmla="*/ 553 w 8405"/>
                  <a:gd name="connsiteY87" fmla="*/ 8988 h 10000"/>
                  <a:gd name="connsiteX88" fmla="*/ 526 w 8405"/>
                  <a:gd name="connsiteY88" fmla="*/ 9081 h 10000"/>
                  <a:gd name="connsiteX89" fmla="*/ 515 w 8405"/>
                  <a:gd name="connsiteY89" fmla="*/ 9187 h 10000"/>
                  <a:gd name="connsiteX90" fmla="*/ 493 w 8405"/>
                  <a:gd name="connsiteY90" fmla="*/ 9180 h 10000"/>
                  <a:gd name="connsiteX91" fmla="*/ 476 w 8405"/>
                  <a:gd name="connsiteY91" fmla="*/ 9180 h 10000"/>
                  <a:gd name="connsiteX92" fmla="*/ 454 w 8405"/>
                  <a:gd name="connsiteY92" fmla="*/ 9174 h 10000"/>
                  <a:gd name="connsiteX93" fmla="*/ 432 w 8405"/>
                  <a:gd name="connsiteY93" fmla="*/ 9174 h 10000"/>
                  <a:gd name="connsiteX94" fmla="*/ 362 w 8405"/>
                  <a:gd name="connsiteY94" fmla="*/ 9180 h 10000"/>
                  <a:gd name="connsiteX95" fmla="*/ 301 w 8405"/>
                  <a:gd name="connsiteY95" fmla="*/ 9200 h 10000"/>
                  <a:gd name="connsiteX96" fmla="*/ 241 w 8405"/>
                  <a:gd name="connsiteY96" fmla="*/ 9227 h 10000"/>
                  <a:gd name="connsiteX97" fmla="*/ 186 w 8405"/>
                  <a:gd name="connsiteY97" fmla="*/ 9265 h 10000"/>
                  <a:gd name="connsiteX98" fmla="*/ 137 w 8405"/>
                  <a:gd name="connsiteY98" fmla="*/ 9318 h 10000"/>
                  <a:gd name="connsiteX99" fmla="*/ 93 w 8405"/>
                  <a:gd name="connsiteY99" fmla="*/ 9371 h 10000"/>
                  <a:gd name="connsiteX100" fmla="*/ 54 w 8405"/>
                  <a:gd name="connsiteY100" fmla="*/ 9438 h 10000"/>
                  <a:gd name="connsiteX101" fmla="*/ 21 w 8405"/>
                  <a:gd name="connsiteY101" fmla="*/ 9510 h 10000"/>
                  <a:gd name="connsiteX102" fmla="*/ 213 w 8405"/>
                  <a:gd name="connsiteY102" fmla="*/ 9461 h 10000"/>
                  <a:gd name="connsiteX103" fmla="*/ 0 w 8405"/>
                  <a:gd name="connsiteY103" fmla="*/ 9931 h 10000"/>
                  <a:gd name="connsiteX104" fmla="*/ 960 w 8405"/>
                  <a:gd name="connsiteY104" fmla="*/ 10000 h 10000"/>
                  <a:gd name="connsiteX105" fmla="*/ 7149 w 8405"/>
                  <a:gd name="connsiteY105" fmla="*/ 9980 h 10000"/>
                  <a:gd name="connsiteX106" fmla="*/ 8341 w 8405"/>
                  <a:gd name="connsiteY106" fmla="*/ 9510 h 10000"/>
                  <a:gd name="connsiteX107" fmla="*/ 8405 w 8405"/>
                  <a:gd name="connsiteY107" fmla="*/ 9510 h 10000"/>
                  <a:gd name="connsiteX0" fmla="*/ 10000 w 10000"/>
                  <a:gd name="connsiteY0" fmla="*/ 9510 h 10000"/>
                  <a:gd name="connsiteX1" fmla="*/ 10000 w 10000"/>
                  <a:gd name="connsiteY1" fmla="*/ 7367 h 10000"/>
                  <a:gd name="connsiteX2" fmla="*/ 9198 w 10000"/>
                  <a:gd name="connsiteY2" fmla="*/ 7367 h 10000"/>
                  <a:gd name="connsiteX3" fmla="*/ 9198 w 10000"/>
                  <a:gd name="connsiteY3" fmla="*/ 4121 h 10000"/>
                  <a:gd name="connsiteX4" fmla="*/ 7217 w 10000"/>
                  <a:gd name="connsiteY4" fmla="*/ 4121 h 10000"/>
                  <a:gd name="connsiteX5" fmla="*/ 7217 w 10000"/>
                  <a:gd name="connsiteY5" fmla="*/ 3809 h 10000"/>
                  <a:gd name="connsiteX6" fmla="*/ 8800 w 10000"/>
                  <a:gd name="connsiteY6" fmla="*/ 3809 h 10000"/>
                  <a:gd name="connsiteX7" fmla="*/ 8800 w 10000"/>
                  <a:gd name="connsiteY7" fmla="*/ 3492 h 10000"/>
                  <a:gd name="connsiteX8" fmla="*/ 7217 w 10000"/>
                  <a:gd name="connsiteY8" fmla="*/ 3492 h 10000"/>
                  <a:gd name="connsiteX9" fmla="*/ 7217 w 10000"/>
                  <a:gd name="connsiteY9" fmla="*/ 1362 h 10000"/>
                  <a:gd name="connsiteX10" fmla="*/ 4888 w 10000"/>
                  <a:gd name="connsiteY10" fmla="*/ 549 h 10000"/>
                  <a:gd name="connsiteX11" fmla="*/ 4888 w 10000"/>
                  <a:gd name="connsiteY11" fmla="*/ 5662 h 10000"/>
                  <a:gd name="connsiteX12" fmla="*/ 4518 w 10000"/>
                  <a:gd name="connsiteY12" fmla="*/ 5668 h 10000"/>
                  <a:gd name="connsiteX13" fmla="*/ 4518 w 10000"/>
                  <a:gd name="connsiteY13" fmla="*/ 1752 h 10000"/>
                  <a:gd name="connsiteX14" fmla="*/ 3735 w 10000"/>
                  <a:gd name="connsiteY14" fmla="*/ 2057 h 10000"/>
                  <a:gd name="connsiteX15" fmla="*/ 3311 w 10000"/>
                  <a:gd name="connsiteY15" fmla="*/ 2057 h 10000"/>
                  <a:gd name="connsiteX16" fmla="*/ 3311 w 10000"/>
                  <a:gd name="connsiteY16" fmla="*/ 0 h 10000"/>
                  <a:gd name="connsiteX17" fmla="*/ 3155 w 10000"/>
                  <a:gd name="connsiteY17" fmla="*/ 0 h 10000"/>
                  <a:gd name="connsiteX18" fmla="*/ 3155 w 10000"/>
                  <a:gd name="connsiteY18" fmla="*/ 2057 h 10000"/>
                  <a:gd name="connsiteX19" fmla="*/ 2796 w 10000"/>
                  <a:gd name="connsiteY19" fmla="*/ 2057 h 10000"/>
                  <a:gd name="connsiteX20" fmla="*/ 2796 w 10000"/>
                  <a:gd name="connsiteY20" fmla="*/ 2487 h 10000"/>
                  <a:gd name="connsiteX21" fmla="*/ 2151 w 10000"/>
                  <a:gd name="connsiteY21" fmla="*/ 2810 h 10000"/>
                  <a:gd name="connsiteX22" fmla="*/ 2151 w 10000"/>
                  <a:gd name="connsiteY22" fmla="*/ 4405 h 10000"/>
                  <a:gd name="connsiteX23" fmla="*/ 1805 w 10000"/>
                  <a:gd name="connsiteY23" fmla="*/ 4405 h 10000"/>
                  <a:gd name="connsiteX24" fmla="*/ 1805 w 10000"/>
                  <a:gd name="connsiteY24" fmla="*/ 4828 h 10000"/>
                  <a:gd name="connsiteX25" fmla="*/ 2151 w 10000"/>
                  <a:gd name="connsiteY25" fmla="*/ 4828 h 10000"/>
                  <a:gd name="connsiteX26" fmla="*/ 2151 w 10000"/>
                  <a:gd name="connsiteY26" fmla="*/ 5357 h 10000"/>
                  <a:gd name="connsiteX27" fmla="*/ 1805 w 10000"/>
                  <a:gd name="connsiteY27" fmla="*/ 5357 h 10000"/>
                  <a:gd name="connsiteX28" fmla="*/ 1805 w 10000"/>
                  <a:gd name="connsiteY28" fmla="*/ 5780 h 10000"/>
                  <a:gd name="connsiteX29" fmla="*/ 2151 w 10000"/>
                  <a:gd name="connsiteY29" fmla="*/ 5780 h 10000"/>
                  <a:gd name="connsiteX30" fmla="*/ 2151 w 10000"/>
                  <a:gd name="connsiteY30" fmla="*/ 7030 h 10000"/>
                  <a:gd name="connsiteX31" fmla="*/ 1120 w 10000"/>
                  <a:gd name="connsiteY31" fmla="*/ 7030 h 10000"/>
                  <a:gd name="connsiteX32" fmla="*/ 1120 w 10000"/>
                  <a:gd name="connsiteY32" fmla="*/ 7804 h 10000"/>
                  <a:gd name="connsiteX33" fmla="*/ 1649 w 10000"/>
                  <a:gd name="connsiteY33" fmla="*/ 7824 h 10000"/>
                  <a:gd name="connsiteX34" fmla="*/ 2365 w 10000"/>
                  <a:gd name="connsiteY34" fmla="*/ 7301 h 10000"/>
                  <a:gd name="connsiteX35" fmla="*/ 2359 w 10000"/>
                  <a:gd name="connsiteY35" fmla="*/ 7804 h 10000"/>
                  <a:gd name="connsiteX36" fmla="*/ 3017 w 10000"/>
                  <a:gd name="connsiteY36" fmla="*/ 7354 h 10000"/>
                  <a:gd name="connsiteX37" fmla="*/ 3017 w 10000"/>
                  <a:gd name="connsiteY37" fmla="*/ 7804 h 10000"/>
                  <a:gd name="connsiteX38" fmla="*/ 3669 w 10000"/>
                  <a:gd name="connsiteY38" fmla="*/ 7347 h 10000"/>
                  <a:gd name="connsiteX39" fmla="*/ 3675 w 10000"/>
                  <a:gd name="connsiteY39" fmla="*/ 7797 h 10000"/>
                  <a:gd name="connsiteX40" fmla="*/ 4302 w 10000"/>
                  <a:gd name="connsiteY40" fmla="*/ 7314 h 10000"/>
                  <a:gd name="connsiteX41" fmla="*/ 4302 w 10000"/>
                  <a:gd name="connsiteY41" fmla="*/ 8598 h 10000"/>
                  <a:gd name="connsiteX42" fmla="*/ 4374 w 10000"/>
                  <a:gd name="connsiteY42" fmla="*/ 8505 h 10000"/>
                  <a:gd name="connsiteX43" fmla="*/ 4446 w 10000"/>
                  <a:gd name="connsiteY43" fmla="*/ 8419 h 10000"/>
                  <a:gd name="connsiteX44" fmla="*/ 4532 w 10000"/>
                  <a:gd name="connsiteY44" fmla="*/ 8346 h 10000"/>
                  <a:gd name="connsiteX45" fmla="*/ 4629 w 10000"/>
                  <a:gd name="connsiteY45" fmla="*/ 8280 h 10000"/>
                  <a:gd name="connsiteX46" fmla="*/ 4726 w 10000"/>
                  <a:gd name="connsiteY46" fmla="*/ 8234 h 10000"/>
                  <a:gd name="connsiteX47" fmla="*/ 4830 w 10000"/>
                  <a:gd name="connsiteY47" fmla="*/ 8201 h 10000"/>
                  <a:gd name="connsiteX48" fmla="*/ 4940 w 10000"/>
                  <a:gd name="connsiteY48" fmla="*/ 8175 h 10000"/>
                  <a:gd name="connsiteX49" fmla="*/ 5065 w 10000"/>
                  <a:gd name="connsiteY49" fmla="*/ 8168 h 10000"/>
                  <a:gd name="connsiteX50" fmla="*/ 5235 w 10000"/>
                  <a:gd name="connsiteY50" fmla="*/ 8181 h 10000"/>
                  <a:gd name="connsiteX51" fmla="*/ 5405 w 10000"/>
                  <a:gd name="connsiteY51" fmla="*/ 8228 h 10000"/>
                  <a:gd name="connsiteX52" fmla="*/ 5541 w 10000"/>
                  <a:gd name="connsiteY52" fmla="*/ 8306 h 10000"/>
                  <a:gd name="connsiteX53" fmla="*/ 5679 w 10000"/>
                  <a:gd name="connsiteY53" fmla="*/ 8406 h 10000"/>
                  <a:gd name="connsiteX54" fmla="*/ 5797 w 10000"/>
                  <a:gd name="connsiteY54" fmla="*/ 8525 h 10000"/>
                  <a:gd name="connsiteX55" fmla="*/ 5874 w 10000"/>
                  <a:gd name="connsiteY55" fmla="*/ 8671 h 10000"/>
                  <a:gd name="connsiteX56" fmla="*/ 5946 w 10000"/>
                  <a:gd name="connsiteY56" fmla="*/ 8822 h 10000"/>
                  <a:gd name="connsiteX57" fmla="*/ 5971 w 10000"/>
                  <a:gd name="connsiteY57" fmla="*/ 8988 h 10000"/>
                  <a:gd name="connsiteX58" fmla="*/ 6005 w 10000"/>
                  <a:gd name="connsiteY58" fmla="*/ 8981 h 10000"/>
                  <a:gd name="connsiteX59" fmla="*/ 6029 w 10000"/>
                  <a:gd name="connsiteY59" fmla="*/ 8981 h 10000"/>
                  <a:gd name="connsiteX60" fmla="*/ 6055 w 10000"/>
                  <a:gd name="connsiteY60" fmla="*/ 8975 h 10000"/>
                  <a:gd name="connsiteX61" fmla="*/ 6081 w 10000"/>
                  <a:gd name="connsiteY61" fmla="*/ 8975 h 10000"/>
                  <a:gd name="connsiteX62" fmla="*/ 6114 w 10000"/>
                  <a:gd name="connsiteY62" fmla="*/ 8968 h 10000"/>
                  <a:gd name="connsiteX63" fmla="*/ 6146 w 10000"/>
                  <a:gd name="connsiteY63" fmla="*/ 8968 h 10000"/>
                  <a:gd name="connsiteX64" fmla="*/ 6173 w 10000"/>
                  <a:gd name="connsiteY64" fmla="*/ 8968 h 10000"/>
                  <a:gd name="connsiteX65" fmla="*/ 6206 w 10000"/>
                  <a:gd name="connsiteY65" fmla="*/ 8968 h 10000"/>
                  <a:gd name="connsiteX66" fmla="*/ 6343 w 10000"/>
                  <a:gd name="connsiteY66" fmla="*/ 8975 h 10000"/>
                  <a:gd name="connsiteX67" fmla="*/ 6466 w 10000"/>
                  <a:gd name="connsiteY67" fmla="*/ 9008 h 10000"/>
                  <a:gd name="connsiteX68" fmla="*/ 6590 w 10000"/>
                  <a:gd name="connsiteY68" fmla="*/ 9054 h 10000"/>
                  <a:gd name="connsiteX69" fmla="*/ 6702 w 10000"/>
                  <a:gd name="connsiteY69" fmla="*/ 9121 h 10000"/>
                  <a:gd name="connsiteX70" fmla="*/ 6805 w 10000"/>
                  <a:gd name="connsiteY70" fmla="*/ 9200 h 10000"/>
                  <a:gd name="connsiteX71" fmla="*/ 6897 w 10000"/>
                  <a:gd name="connsiteY71" fmla="*/ 9285 h 10000"/>
                  <a:gd name="connsiteX72" fmla="*/ 6970 w 10000"/>
                  <a:gd name="connsiteY72" fmla="*/ 9398 h 10000"/>
                  <a:gd name="connsiteX73" fmla="*/ 7035 w 10000"/>
                  <a:gd name="connsiteY73" fmla="*/ 9510 h 10000"/>
                  <a:gd name="connsiteX74" fmla="*/ 3311 w 10000"/>
                  <a:gd name="connsiteY74" fmla="*/ 9510 h 10000"/>
                  <a:gd name="connsiteX75" fmla="*/ 3350 w 10000"/>
                  <a:gd name="connsiteY75" fmla="*/ 9424 h 10000"/>
                  <a:gd name="connsiteX76" fmla="*/ 3403 w 10000"/>
                  <a:gd name="connsiteY76" fmla="*/ 9338 h 10000"/>
                  <a:gd name="connsiteX77" fmla="*/ 3454 w 10000"/>
                  <a:gd name="connsiteY77" fmla="*/ 9272 h 10000"/>
                  <a:gd name="connsiteX78" fmla="*/ 3525 w 10000"/>
                  <a:gd name="connsiteY78" fmla="*/ 9207 h 10000"/>
                  <a:gd name="connsiteX79" fmla="*/ 3591 w 10000"/>
                  <a:gd name="connsiteY79" fmla="*/ 9154 h 10000"/>
                  <a:gd name="connsiteX80" fmla="*/ 3669 w 10000"/>
                  <a:gd name="connsiteY80" fmla="*/ 9101 h 10000"/>
                  <a:gd name="connsiteX81" fmla="*/ 3748 w 10000"/>
                  <a:gd name="connsiteY81" fmla="*/ 9061 h 10000"/>
                  <a:gd name="connsiteX82" fmla="*/ 3839 w 10000"/>
                  <a:gd name="connsiteY82" fmla="*/ 9028 h 10000"/>
                  <a:gd name="connsiteX83" fmla="*/ 3839 w 10000"/>
                  <a:gd name="connsiteY83" fmla="*/ 8181 h 10000"/>
                  <a:gd name="connsiteX84" fmla="*/ 763 w 10000"/>
                  <a:gd name="connsiteY84" fmla="*/ 8195 h 10000"/>
                  <a:gd name="connsiteX85" fmla="*/ 763 w 10000"/>
                  <a:gd name="connsiteY85" fmla="*/ 8822 h 10000"/>
                  <a:gd name="connsiteX86" fmla="*/ 704 w 10000"/>
                  <a:gd name="connsiteY86" fmla="*/ 8902 h 10000"/>
                  <a:gd name="connsiteX87" fmla="*/ 658 w 10000"/>
                  <a:gd name="connsiteY87" fmla="*/ 8988 h 10000"/>
                  <a:gd name="connsiteX88" fmla="*/ 626 w 10000"/>
                  <a:gd name="connsiteY88" fmla="*/ 9081 h 10000"/>
                  <a:gd name="connsiteX89" fmla="*/ 613 w 10000"/>
                  <a:gd name="connsiteY89" fmla="*/ 9187 h 10000"/>
                  <a:gd name="connsiteX90" fmla="*/ 587 w 10000"/>
                  <a:gd name="connsiteY90" fmla="*/ 9180 h 10000"/>
                  <a:gd name="connsiteX91" fmla="*/ 566 w 10000"/>
                  <a:gd name="connsiteY91" fmla="*/ 9180 h 10000"/>
                  <a:gd name="connsiteX92" fmla="*/ 540 w 10000"/>
                  <a:gd name="connsiteY92" fmla="*/ 9174 h 10000"/>
                  <a:gd name="connsiteX93" fmla="*/ 514 w 10000"/>
                  <a:gd name="connsiteY93" fmla="*/ 9174 h 10000"/>
                  <a:gd name="connsiteX94" fmla="*/ 431 w 10000"/>
                  <a:gd name="connsiteY94" fmla="*/ 9180 h 10000"/>
                  <a:gd name="connsiteX95" fmla="*/ 358 w 10000"/>
                  <a:gd name="connsiteY95" fmla="*/ 9200 h 10000"/>
                  <a:gd name="connsiteX96" fmla="*/ 287 w 10000"/>
                  <a:gd name="connsiteY96" fmla="*/ 9227 h 10000"/>
                  <a:gd name="connsiteX97" fmla="*/ 221 w 10000"/>
                  <a:gd name="connsiteY97" fmla="*/ 9265 h 10000"/>
                  <a:gd name="connsiteX98" fmla="*/ 163 w 10000"/>
                  <a:gd name="connsiteY98" fmla="*/ 9318 h 10000"/>
                  <a:gd name="connsiteX99" fmla="*/ 111 w 10000"/>
                  <a:gd name="connsiteY99" fmla="*/ 9371 h 10000"/>
                  <a:gd name="connsiteX100" fmla="*/ 64 w 10000"/>
                  <a:gd name="connsiteY100" fmla="*/ 9438 h 10000"/>
                  <a:gd name="connsiteX101" fmla="*/ 314 w 10000"/>
                  <a:gd name="connsiteY101" fmla="*/ 9510 h 10000"/>
                  <a:gd name="connsiteX102" fmla="*/ 253 w 10000"/>
                  <a:gd name="connsiteY102" fmla="*/ 9461 h 10000"/>
                  <a:gd name="connsiteX103" fmla="*/ 0 w 10000"/>
                  <a:gd name="connsiteY103" fmla="*/ 9931 h 10000"/>
                  <a:gd name="connsiteX104" fmla="*/ 1142 w 10000"/>
                  <a:gd name="connsiteY104" fmla="*/ 10000 h 10000"/>
                  <a:gd name="connsiteX105" fmla="*/ 8506 w 10000"/>
                  <a:gd name="connsiteY105" fmla="*/ 9980 h 10000"/>
                  <a:gd name="connsiteX106" fmla="*/ 9924 w 10000"/>
                  <a:gd name="connsiteY106" fmla="*/ 9510 h 10000"/>
                  <a:gd name="connsiteX107" fmla="*/ 10000 w 10000"/>
                  <a:gd name="connsiteY107" fmla="*/ 9510 h 10000"/>
                  <a:gd name="connsiteX0" fmla="*/ 9936 w 9936"/>
                  <a:gd name="connsiteY0" fmla="*/ 9510 h 10000"/>
                  <a:gd name="connsiteX1" fmla="*/ 9936 w 9936"/>
                  <a:gd name="connsiteY1" fmla="*/ 7367 h 10000"/>
                  <a:gd name="connsiteX2" fmla="*/ 9134 w 9936"/>
                  <a:gd name="connsiteY2" fmla="*/ 7367 h 10000"/>
                  <a:gd name="connsiteX3" fmla="*/ 9134 w 9936"/>
                  <a:gd name="connsiteY3" fmla="*/ 4121 h 10000"/>
                  <a:gd name="connsiteX4" fmla="*/ 7153 w 9936"/>
                  <a:gd name="connsiteY4" fmla="*/ 4121 h 10000"/>
                  <a:gd name="connsiteX5" fmla="*/ 7153 w 9936"/>
                  <a:gd name="connsiteY5" fmla="*/ 3809 h 10000"/>
                  <a:gd name="connsiteX6" fmla="*/ 8736 w 9936"/>
                  <a:gd name="connsiteY6" fmla="*/ 3809 h 10000"/>
                  <a:gd name="connsiteX7" fmla="*/ 8736 w 9936"/>
                  <a:gd name="connsiteY7" fmla="*/ 3492 h 10000"/>
                  <a:gd name="connsiteX8" fmla="*/ 7153 w 9936"/>
                  <a:gd name="connsiteY8" fmla="*/ 3492 h 10000"/>
                  <a:gd name="connsiteX9" fmla="*/ 7153 w 9936"/>
                  <a:gd name="connsiteY9" fmla="*/ 1362 h 10000"/>
                  <a:gd name="connsiteX10" fmla="*/ 4824 w 9936"/>
                  <a:gd name="connsiteY10" fmla="*/ 549 h 10000"/>
                  <a:gd name="connsiteX11" fmla="*/ 4824 w 9936"/>
                  <a:gd name="connsiteY11" fmla="*/ 5662 h 10000"/>
                  <a:gd name="connsiteX12" fmla="*/ 4454 w 9936"/>
                  <a:gd name="connsiteY12" fmla="*/ 5668 h 10000"/>
                  <a:gd name="connsiteX13" fmla="*/ 4454 w 9936"/>
                  <a:gd name="connsiteY13" fmla="*/ 1752 h 10000"/>
                  <a:gd name="connsiteX14" fmla="*/ 3671 w 9936"/>
                  <a:gd name="connsiteY14" fmla="*/ 2057 h 10000"/>
                  <a:gd name="connsiteX15" fmla="*/ 3247 w 9936"/>
                  <a:gd name="connsiteY15" fmla="*/ 2057 h 10000"/>
                  <a:gd name="connsiteX16" fmla="*/ 3247 w 9936"/>
                  <a:gd name="connsiteY16" fmla="*/ 0 h 10000"/>
                  <a:gd name="connsiteX17" fmla="*/ 3091 w 9936"/>
                  <a:gd name="connsiteY17" fmla="*/ 0 h 10000"/>
                  <a:gd name="connsiteX18" fmla="*/ 3091 w 9936"/>
                  <a:gd name="connsiteY18" fmla="*/ 2057 h 10000"/>
                  <a:gd name="connsiteX19" fmla="*/ 2732 w 9936"/>
                  <a:gd name="connsiteY19" fmla="*/ 2057 h 10000"/>
                  <a:gd name="connsiteX20" fmla="*/ 2732 w 9936"/>
                  <a:gd name="connsiteY20" fmla="*/ 2487 h 10000"/>
                  <a:gd name="connsiteX21" fmla="*/ 2087 w 9936"/>
                  <a:gd name="connsiteY21" fmla="*/ 2810 h 10000"/>
                  <a:gd name="connsiteX22" fmla="*/ 2087 w 9936"/>
                  <a:gd name="connsiteY22" fmla="*/ 4405 h 10000"/>
                  <a:gd name="connsiteX23" fmla="*/ 1741 w 9936"/>
                  <a:gd name="connsiteY23" fmla="*/ 4405 h 10000"/>
                  <a:gd name="connsiteX24" fmla="*/ 1741 w 9936"/>
                  <a:gd name="connsiteY24" fmla="*/ 4828 h 10000"/>
                  <a:gd name="connsiteX25" fmla="*/ 2087 w 9936"/>
                  <a:gd name="connsiteY25" fmla="*/ 4828 h 10000"/>
                  <a:gd name="connsiteX26" fmla="*/ 2087 w 9936"/>
                  <a:gd name="connsiteY26" fmla="*/ 5357 h 10000"/>
                  <a:gd name="connsiteX27" fmla="*/ 1741 w 9936"/>
                  <a:gd name="connsiteY27" fmla="*/ 5357 h 10000"/>
                  <a:gd name="connsiteX28" fmla="*/ 1741 w 9936"/>
                  <a:gd name="connsiteY28" fmla="*/ 5780 h 10000"/>
                  <a:gd name="connsiteX29" fmla="*/ 2087 w 9936"/>
                  <a:gd name="connsiteY29" fmla="*/ 5780 h 10000"/>
                  <a:gd name="connsiteX30" fmla="*/ 2087 w 9936"/>
                  <a:gd name="connsiteY30" fmla="*/ 7030 h 10000"/>
                  <a:gd name="connsiteX31" fmla="*/ 1056 w 9936"/>
                  <a:gd name="connsiteY31" fmla="*/ 7030 h 10000"/>
                  <a:gd name="connsiteX32" fmla="*/ 1056 w 9936"/>
                  <a:gd name="connsiteY32" fmla="*/ 7804 h 10000"/>
                  <a:gd name="connsiteX33" fmla="*/ 1585 w 9936"/>
                  <a:gd name="connsiteY33" fmla="*/ 7824 h 10000"/>
                  <a:gd name="connsiteX34" fmla="*/ 2301 w 9936"/>
                  <a:gd name="connsiteY34" fmla="*/ 7301 h 10000"/>
                  <a:gd name="connsiteX35" fmla="*/ 2295 w 9936"/>
                  <a:gd name="connsiteY35" fmla="*/ 7804 h 10000"/>
                  <a:gd name="connsiteX36" fmla="*/ 2953 w 9936"/>
                  <a:gd name="connsiteY36" fmla="*/ 7354 h 10000"/>
                  <a:gd name="connsiteX37" fmla="*/ 2953 w 9936"/>
                  <a:gd name="connsiteY37" fmla="*/ 7804 h 10000"/>
                  <a:gd name="connsiteX38" fmla="*/ 3605 w 9936"/>
                  <a:gd name="connsiteY38" fmla="*/ 7347 h 10000"/>
                  <a:gd name="connsiteX39" fmla="*/ 3611 w 9936"/>
                  <a:gd name="connsiteY39" fmla="*/ 7797 h 10000"/>
                  <a:gd name="connsiteX40" fmla="*/ 4238 w 9936"/>
                  <a:gd name="connsiteY40" fmla="*/ 7314 h 10000"/>
                  <a:gd name="connsiteX41" fmla="*/ 4238 w 9936"/>
                  <a:gd name="connsiteY41" fmla="*/ 8598 h 10000"/>
                  <a:gd name="connsiteX42" fmla="*/ 4310 w 9936"/>
                  <a:gd name="connsiteY42" fmla="*/ 8505 h 10000"/>
                  <a:gd name="connsiteX43" fmla="*/ 4382 w 9936"/>
                  <a:gd name="connsiteY43" fmla="*/ 8419 h 10000"/>
                  <a:gd name="connsiteX44" fmla="*/ 4468 w 9936"/>
                  <a:gd name="connsiteY44" fmla="*/ 8346 h 10000"/>
                  <a:gd name="connsiteX45" fmla="*/ 4565 w 9936"/>
                  <a:gd name="connsiteY45" fmla="*/ 8280 h 10000"/>
                  <a:gd name="connsiteX46" fmla="*/ 4662 w 9936"/>
                  <a:gd name="connsiteY46" fmla="*/ 8234 h 10000"/>
                  <a:gd name="connsiteX47" fmla="*/ 4766 w 9936"/>
                  <a:gd name="connsiteY47" fmla="*/ 8201 h 10000"/>
                  <a:gd name="connsiteX48" fmla="*/ 4876 w 9936"/>
                  <a:gd name="connsiteY48" fmla="*/ 8175 h 10000"/>
                  <a:gd name="connsiteX49" fmla="*/ 5001 w 9936"/>
                  <a:gd name="connsiteY49" fmla="*/ 8168 h 10000"/>
                  <a:gd name="connsiteX50" fmla="*/ 5171 w 9936"/>
                  <a:gd name="connsiteY50" fmla="*/ 8181 h 10000"/>
                  <a:gd name="connsiteX51" fmla="*/ 5341 w 9936"/>
                  <a:gd name="connsiteY51" fmla="*/ 8228 h 10000"/>
                  <a:gd name="connsiteX52" fmla="*/ 5477 w 9936"/>
                  <a:gd name="connsiteY52" fmla="*/ 8306 h 10000"/>
                  <a:gd name="connsiteX53" fmla="*/ 5615 w 9936"/>
                  <a:gd name="connsiteY53" fmla="*/ 8406 h 10000"/>
                  <a:gd name="connsiteX54" fmla="*/ 5733 w 9936"/>
                  <a:gd name="connsiteY54" fmla="*/ 8525 h 10000"/>
                  <a:gd name="connsiteX55" fmla="*/ 5810 w 9936"/>
                  <a:gd name="connsiteY55" fmla="*/ 8671 h 10000"/>
                  <a:gd name="connsiteX56" fmla="*/ 5882 w 9936"/>
                  <a:gd name="connsiteY56" fmla="*/ 8822 h 10000"/>
                  <a:gd name="connsiteX57" fmla="*/ 5907 w 9936"/>
                  <a:gd name="connsiteY57" fmla="*/ 8988 h 10000"/>
                  <a:gd name="connsiteX58" fmla="*/ 5941 w 9936"/>
                  <a:gd name="connsiteY58" fmla="*/ 8981 h 10000"/>
                  <a:gd name="connsiteX59" fmla="*/ 5965 w 9936"/>
                  <a:gd name="connsiteY59" fmla="*/ 8981 h 10000"/>
                  <a:gd name="connsiteX60" fmla="*/ 5991 w 9936"/>
                  <a:gd name="connsiteY60" fmla="*/ 8975 h 10000"/>
                  <a:gd name="connsiteX61" fmla="*/ 6017 w 9936"/>
                  <a:gd name="connsiteY61" fmla="*/ 8975 h 10000"/>
                  <a:gd name="connsiteX62" fmla="*/ 6050 w 9936"/>
                  <a:gd name="connsiteY62" fmla="*/ 8968 h 10000"/>
                  <a:gd name="connsiteX63" fmla="*/ 6082 w 9936"/>
                  <a:gd name="connsiteY63" fmla="*/ 8968 h 10000"/>
                  <a:gd name="connsiteX64" fmla="*/ 6109 w 9936"/>
                  <a:gd name="connsiteY64" fmla="*/ 8968 h 10000"/>
                  <a:gd name="connsiteX65" fmla="*/ 6142 w 9936"/>
                  <a:gd name="connsiteY65" fmla="*/ 8968 h 10000"/>
                  <a:gd name="connsiteX66" fmla="*/ 6279 w 9936"/>
                  <a:gd name="connsiteY66" fmla="*/ 8975 h 10000"/>
                  <a:gd name="connsiteX67" fmla="*/ 6402 w 9936"/>
                  <a:gd name="connsiteY67" fmla="*/ 9008 h 10000"/>
                  <a:gd name="connsiteX68" fmla="*/ 6526 w 9936"/>
                  <a:gd name="connsiteY68" fmla="*/ 9054 h 10000"/>
                  <a:gd name="connsiteX69" fmla="*/ 6638 w 9936"/>
                  <a:gd name="connsiteY69" fmla="*/ 9121 h 10000"/>
                  <a:gd name="connsiteX70" fmla="*/ 6741 w 9936"/>
                  <a:gd name="connsiteY70" fmla="*/ 9200 h 10000"/>
                  <a:gd name="connsiteX71" fmla="*/ 6833 w 9936"/>
                  <a:gd name="connsiteY71" fmla="*/ 9285 h 10000"/>
                  <a:gd name="connsiteX72" fmla="*/ 6906 w 9936"/>
                  <a:gd name="connsiteY72" fmla="*/ 9398 h 10000"/>
                  <a:gd name="connsiteX73" fmla="*/ 6971 w 9936"/>
                  <a:gd name="connsiteY73" fmla="*/ 9510 h 10000"/>
                  <a:gd name="connsiteX74" fmla="*/ 3247 w 9936"/>
                  <a:gd name="connsiteY74" fmla="*/ 9510 h 10000"/>
                  <a:gd name="connsiteX75" fmla="*/ 3286 w 9936"/>
                  <a:gd name="connsiteY75" fmla="*/ 9424 h 10000"/>
                  <a:gd name="connsiteX76" fmla="*/ 3339 w 9936"/>
                  <a:gd name="connsiteY76" fmla="*/ 9338 h 10000"/>
                  <a:gd name="connsiteX77" fmla="*/ 3390 w 9936"/>
                  <a:gd name="connsiteY77" fmla="*/ 9272 h 10000"/>
                  <a:gd name="connsiteX78" fmla="*/ 3461 w 9936"/>
                  <a:gd name="connsiteY78" fmla="*/ 9207 h 10000"/>
                  <a:gd name="connsiteX79" fmla="*/ 3527 w 9936"/>
                  <a:gd name="connsiteY79" fmla="*/ 9154 h 10000"/>
                  <a:gd name="connsiteX80" fmla="*/ 3605 w 9936"/>
                  <a:gd name="connsiteY80" fmla="*/ 9101 h 10000"/>
                  <a:gd name="connsiteX81" fmla="*/ 3684 w 9936"/>
                  <a:gd name="connsiteY81" fmla="*/ 9061 h 10000"/>
                  <a:gd name="connsiteX82" fmla="*/ 3775 w 9936"/>
                  <a:gd name="connsiteY82" fmla="*/ 9028 h 10000"/>
                  <a:gd name="connsiteX83" fmla="*/ 3775 w 9936"/>
                  <a:gd name="connsiteY83" fmla="*/ 8181 h 10000"/>
                  <a:gd name="connsiteX84" fmla="*/ 699 w 9936"/>
                  <a:gd name="connsiteY84" fmla="*/ 8195 h 10000"/>
                  <a:gd name="connsiteX85" fmla="*/ 699 w 9936"/>
                  <a:gd name="connsiteY85" fmla="*/ 8822 h 10000"/>
                  <a:gd name="connsiteX86" fmla="*/ 640 w 9936"/>
                  <a:gd name="connsiteY86" fmla="*/ 8902 h 10000"/>
                  <a:gd name="connsiteX87" fmla="*/ 594 w 9936"/>
                  <a:gd name="connsiteY87" fmla="*/ 8988 h 10000"/>
                  <a:gd name="connsiteX88" fmla="*/ 562 w 9936"/>
                  <a:gd name="connsiteY88" fmla="*/ 9081 h 10000"/>
                  <a:gd name="connsiteX89" fmla="*/ 549 w 9936"/>
                  <a:gd name="connsiteY89" fmla="*/ 9187 h 10000"/>
                  <a:gd name="connsiteX90" fmla="*/ 523 w 9936"/>
                  <a:gd name="connsiteY90" fmla="*/ 9180 h 10000"/>
                  <a:gd name="connsiteX91" fmla="*/ 502 w 9936"/>
                  <a:gd name="connsiteY91" fmla="*/ 9180 h 10000"/>
                  <a:gd name="connsiteX92" fmla="*/ 476 w 9936"/>
                  <a:gd name="connsiteY92" fmla="*/ 9174 h 10000"/>
                  <a:gd name="connsiteX93" fmla="*/ 450 w 9936"/>
                  <a:gd name="connsiteY93" fmla="*/ 9174 h 10000"/>
                  <a:gd name="connsiteX94" fmla="*/ 367 w 9936"/>
                  <a:gd name="connsiteY94" fmla="*/ 9180 h 10000"/>
                  <a:gd name="connsiteX95" fmla="*/ 294 w 9936"/>
                  <a:gd name="connsiteY95" fmla="*/ 9200 h 10000"/>
                  <a:gd name="connsiteX96" fmla="*/ 223 w 9936"/>
                  <a:gd name="connsiteY96" fmla="*/ 9227 h 10000"/>
                  <a:gd name="connsiteX97" fmla="*/ 157 w 9936"/>
                  <a:gd name="connsiteY97" fmla="*/ 9265 h 10000"/>
                  <a:gd name="connsiteX98" fmla="*/ 99 w 9936"/>
                  <a:gd name="connsiteY98" fmla="*/ 9318 h 10000"/>
                  <a:gd name="connsiteX99" fmla="*/ 47 w 9936"/>
                  <a:gd name="connsiteY99" fmla="*/ 9371 h 10000"/>
                  <a:gd name="connsiteX100" fmla="*/ 0 w 9936"/>
                  <a:gd name="connsiteY100" fmla="*/ 9438 h 10000"/>
                  <a:gd name="connsiteX101" fmla="*/ 250 w 9936"/>
                  <a:gd name="connsiteY101" fmla="*/ 9510 h 10000"/>
                  <a:gd name="connsiteX102" fmla="*/ 189 w 9936"/>
                  <a:gd name="connsiteY102" fmla="*/ 9461 h 10000"/>
                  <a:gd name="connsiteX103" fmla="*/ 1192 w 9936"/>
                  <a:gd name="connsiteY103" fmla="*/ 8986 h 10000"/>
                  <a:gd name="connsiteX104" fmla="*/ 1078 w 9936"/>
                  <a:gd name="connsiteY104" fmla="*/ 10000 h 10000"/>
                  <a:gd name="connsiteX105" fmla="*/ 8442 w 9936"/>
                  <a:gd name="connsiteY105" fmla="*/ 9980 h 10000"/>
                  <a:gd name="connsiteX106" fmla="*/ 9860 w 9936"/>
                  <a:gd name="connsiteY106" fmla="*/ 9510 h 10000"/>
                  <a:gd name="connsiteX107" fmla="*/ 9936 w 9936"/>
                  <a:gd name="connsiteY107" fmla="*/ 9510 h 10000"/>
                  <a:gd name="connsiteX0" fmla="*/ 10000 w 10000"/>
                  <a:gd name="connsiteY0" fmla="*/ 9510 h 9980"/>
                  <a:gd name="connsiteX1" fmla="*/ 10000 w 10000"/>
                  <a:gd name="connsiteY1" fmla="*/ 7367 h 9980"/>
                  <a:gd name="connsiteX2" fmla="*/ 9193 w 10000"/>
                  <a:gd name="connsiteY2" fmla="*/ 7367 h 9980"/>
                  <a:gd name="connsiteX3" fmla="*/ 9193 w 10000"/>
                  <a:gd name="connsiteY3" fmla="*/ 4121 h 9980"/>
                  <a:gd name="connsiteX4" fmla="*/ 7199 w 10000"/>
                  <a:gd name="connsiteY4" fmla="*/ 4121 h 9980"/>
                  <a:gd name="connsiteX5" fmla="*/ 7199 w 10000"/>
                  <a:gd name="connsiteY5" fmla="*/ 3809 h 9980"/>
                  <a:gd name="connsiteX6" fmla="*/ 8792 w 10000"/>
                  <a:gd name="connsiteY6" fmla="*/ 3809 h 9980"/>
                  <a:gd name="connsiteX7" fmla="*/ 8792 w 10000"/>
                  <a:gd name="connsiteY7" fmla="*/ 3492 h 9980"/>
                  <a:gd name="connsiteX8" fmla="*/ 7199 w 10000"/>
                  <a:gd name="connsiteY8" fmla="*/ 3492 h 9980"/>
                  <a:gd name="connsiteX9" fmla="*/ 7199 w 10000"/>
                  <a:gd name="connsiteY9" fmla="*/ 1362 h 9980"/>
                  <a:gd name="connsiteX10" fmla="*/ 4855 w 10000"/>
                  <a:gd name="connsiteY10" fmla="*/ 549 h 9980"/>
                  <a:gd name="connsiteX11" fmla="*/ 4855 w 10000"/>
                  <a:gd name="connsiteY11" fmla="*/ 5662 h 9980"/>
                  <a:gd name="connsiteX12" fmla="*/ 4483 w 10000"/>
                  <a:gd name="connsiteY12" fmla="*/ 5668 h 9980"/>
                  <a:gd name="connsiteX13" fmla="*/ 4483 w 10000"/>
                  <a:gd name="connsiteY13" fmla="*/ 1752 h 9980"/>
                  <a:gd name="connsiteX14" fmla="*/ 3695 w 10000"/>
                  <a:gd name="connsiteY14" fmla="*/ 2057 h 9980"/>
                  <a:gd name="connsiteX15" fmla="*/ 3268 w 10000"/>
                  <a:gd name="connsiteY15" fmla="*/ 2057 h 9980"/>
                  <a:gd name="connsiteX16" fmla="*/ 3268 w 10000"/>
                  <a:gd name="connsiteY16" fmla="*/ 0 h 9980"/>
                  <a:gd name="connsiteX17" fmla="*/ 3111 w 10000"/>
                  <a:gd name="connsiteY17" fmla="*/ 0 h 9980"/>
                  <a:gd name="connsiteX18" fmla="*/ 3111 w 10000"/>
                  <a:gd name="connsiteY18" fmla="*/ 2057 h 9980"/>
                  <a:gd name="connsiteX19" fmla="*/ 2750 w 10000"/>
                  <a:gd name="connsiteY19" fmla="*/ 2057 h 9980"/>
                  <a:gd name="connsiteX20" fmla="*/ 2750 w 10000"/>
                  <a:gd name="connsiteY20" fmla="*/ 2487 h 9980"/>
                  <a:gd name="connsiteX21" fmla="*/ 2100 w 10000"/>
                  <a:gd name="connsiteY21" fmla="*/ 2810 h 9980"/>
                  <a:gd name="connsiteX22" fmla="*/ 2100 w 10000"/>
                  <a:gd name="connsiteY22" fmla="*/ 4405 h 9980"/>
                  <a:gd name="connsiteX23" fmla="*/ 1752 w 10000"/>
                  <a:gd name="connsiteY23" fmla="*/ 4405 h 9980"/>
                  <a:gd name="connsiteX24" fmla="*/ 1752 w 10000"/>
                  <a:gd name="connsiteY24" fmla="*/ 4828 h 9980"/>
                  <a:gd name="connsiteX25" fmla="*/ 2100 w 10000"/>
                  <a:gd name="connsiteY25" fmla="*/ 4828 h 9980"/>
                  <a:gd name="connsiteX26" fmla="*/ 2100 w 10000"/>
                  <a:gd name="connsiteY26" fmla="*/ 5357 h 9980"/>
                  <a:gd name="connsiteX27" fmla="*/ 1752 w 10000"/>
                  <a:gd name="connsiteY27" fmla="*/ 5357 h 9980"/>
                  <a:gd name="connsiteX28" fmla="*/ 1752 w 10000"/>
                  <a:gd name="connsiteY28" fmla="*/ 5780 h 9980"/>
                  <a:gd name="connsiteX29" fmla="*/ 2100 w 10000"/>
                  <a:gd name="connsiteY29" fmla="*/ 5780 h 9980"/>
                  <a:gd name="connsiteX30" fmla="*/ 2100 w 10000"/>
                  <a:gd name="connsiteY30" fmla="*/ 7030 h 9980"/>
                  <a:gd name="connsiteX31" fmla="*/ 1063 w 10000"/>
                  <a:gd name="connsiteY31" fmla="*/ 7030 h 9980"/>
                  <a:gd name="connsiteX32" fmla="*/ 1063 w 10000"/>
                  <a:gd name="connsiteY32" fmla="*/ 7804 h 9980"/>
                  <a:gd name="connsiteX33" fmla="*/ 1595 w 10000"/>
                  <a:gd name="connsiteY33" fmla="*/ 7824 h 9980"/>
                  <a:gd name="connsiteX34" fmla="*/ 2316 w 10000"/>
                  <a:gd name="connsiteY34" fmla="*/ 7301 h 9980"/>
                  <a:gd name="connsiteX35" fmla="*/ 2310 w 10000"/>
                  <a:gd name="connsiteY35" fmla="*/ 7804 h 9980"/>
                  <a:gd name="connsiteX36" fmla="*/ 2972 w 10000"/>
                  <a:gd name="connsiteY36" fmla="*/ 7354 h 9980"/>
                  <a:gd name="connsiteX37" fmla="*/ 2972 w 10000"/>
                  <a:gd name="connsiteY37" fmla="*/ 7804 h 9980"/>
                  <a:gd name="connsiteX38" fmla="*/ 3628 w 10000"/>
                  <a:gd name="connsiteY38" fmla="*/ 7347 h 9980"/>
                  <a:gd name="connsiteX39" fmla="*/ 3634 w 10000"/>
                  <a:gd name="connsiteY39" fmla="*/ 7797 h 9980"/>
                  <a:gd name="connsiteX40" fmla="*/ 4265 w 10000"/>
                  <a:gd name="connsiteY40" fmla="*/ 7314 h 9980"/>
                  <a:gd name="connsiteX41" fmla="*/ 4265 w 10000"/>
                  <a:gd name="connsiteY41" fmla="*/ 8598 h 9980"/>
                  <a:gd name="connsiteX42" fmla="*/ 4338 w 10000"/>
                  <a:gd name="connsiteY42" fmla="*/ 8505 h 9980"/>
                  <a:gd name="connsiteX43" fmla="*/ 4410 w 10000"/>
                  <a:gd name="connsiteY43" fmla="*/ 8419 h 9980"/>
                  <a:gd name="connsiteX44" fmla="*/ 4497 w 10000"/>
                  <a:gd name="connsiteY44" fmla="*/ 8346 h 9980"/>
                  <a:gd name="connsiteX45" fmla="*/ 4594 w 10000"/>
                  <a:gd name="connsiteY45" fmla="*/ 8280 h 9980"/>
                  <a:gd name="connsiteX46" fmla="*/ 4692 w 10000"/>
                  <a:gd name="connsiteY46" fmla="*/ 8234 h 9980"/>
                  <a:gd name="connsiteX47" fmla="*/ 4797 w 10000"/>
                  <a:gd name="connsiteY47" fmla="*/ 8201 h 9980"/>
                  <a:gd name="connsiteX48" fmla="*/ 4907 w 10000"/>
                  <a:gd name="connsiteY48" fmla="*/ 8175 h 9980"/>
                  <a:gd name="connsiteX49" fmla="*/ 5033 w 10000"/>
                  <a:gd name="connsiteY49" fmla="*/ 8168 h 9980"/>
                  <a:gd name="connsiteX50" fmla="*/ 5204 w 10000"/>
                  <a:gd name="connsiteY50" fmla="*/ 8181 h 9980"/>
                  <a:gd name="connsiteX51" fmla="*/ 5375 w 10000"/>
                  <a:gd name="connsiteY51" fmla="*/ 8228 h 9980"/>
                  <a:gd name="connsiteX52" fmla="*/ 5512 w 10000"/>
                  <a:gd name="connsiteY52" fmla="*/ 8306 h 9980"/>
                  <a:gd name="connsiteX53" fmla="*/ 5651 w 10000"/>
                  <a:gd name="connsiteY53" fmla="*/ 8406 h 9980"/>
                  <a:gd name="connsiteX54" fmla="*/ 5770 w 10000"/>
                  <a:gd name="connsiteY54" fmla="*/ 8525 h 9980"/>
                  <a:gd name="connsiteX55" fmla="*/ 5847 w 10000"/>
                  <a:gd name="connsiteY55" fmla="*/ 8671 h 9980"/>
                  <a:gd name="connsiteX56" fmla="*/ 5920 w 10000"/>
                  <a:gd name="connsiteY56" fmla="*/ 8822 h 9980"/>
                  <a:gd name="connsiteX57" fmla="*/ 5945 w 10000"/>
                  <a:gd name="connsiteY57" fmla="*/ 8988 h 9980"/>
                  <a:gd name="connsiteX58" fmla="*/ 5979 w 10000"/>
                  <a:gd name="connsiteY58" fmla="*/ 8981 h 9980"/>
                  <a:gd name="connsiteX59" fmla="*/ 6003 w 10000"/>
                  <a:gd name="connsiteY59" fmla="*/ 8981 h 9980"/>
                  <a:gd name="connsiteX60" fmla="*/ 6030 w 10000"/>
                  <a:gd name="connsiteY60" fmla="*/ 8975 h 9980"/>
                  <a:gd name="connsiteX61" fmla="*/ 6056 w 10000"/>
                  <a:gd name="connsiteY61" fmla="*/ 8975 h 9980"/>
                  <a:gd name="connsiteX62" fmla="*/ 6089 w 10000"/>
                  <a:gd name="connsiteY62" fmla="*/ 8968 h 9980"/>
                  <a:gd name="connsiteX63" fmla="*/ 6121 w 10000"/>
                  <a:gd name="connsiteY63" fmla="*/ 8968 h 9980"/>
                  <a:gd name="connsiteX64" fmla="*/ 6148 w 10000"/>
                  <a:gd name="connsiteY64" fmla="*/ 8968 h 9980"/>
                  <a:gd name="connsiteX65" fmla="*/ 6182 w 10000"/>
                  <a:gd name="connsiteY65" fmla="*/ 8968 h 9980"/>
                  <a:gd name="connsiteX66" fmla="*/ 6319 w 10000"/>
                  <a:gd name="connsiteY66" fmla="*/ 8975 h 9980"/>
                  <a:gd name="connsiteX67" fmla="*/ 6443 w 10000"/>
                  <a:gd name="connsiteY67" fmla="*/ 9008 h 9980"/>
                  <a:gd name="connsiteX68" fmla="*/ 6568 w 10000"/>
                  <a:gd name="connsiteY68" fmla="*/ 9054 h 9980"/>
                  <a:gd name="connsiteX69" fmla="*/ 6681 w 10000"/>
                  <a:gd name="connsiteY69" fmla="*/ 9121 h 9980"/>
                  <a:gd name="connsiteX70" fmla="*/ 6784 w 10000"/>
                  <a:gd name="connsiteY70" fmla="*/ 9200 h 9980"/>
                  <a:gd name="connsiteX71" fmla="*/ 6877 w 10000"/>
                  <a:gd name="connsiteY71" fmla="*/ 9285 h 9980"/>
                  <a:gd name="connsiteX72" fmla="*/ 6950 w 10000"/>
                  <a:gd name="connsiteY72" fmla="*/ 9398 h 9980"/>
                  <a:gd name="connsiteX73" fmla="*/ 7016 w 10000"/>
                  <a:gd name="connsiteY73" fmla="*/ 9510 h 9980"/>
                  <a:gd name="connsiteX74" fmla="*/ 3268 w 10000"/>
                  <a:gd name="connsiteY74" fmla="*/ 9510 h 9980"/>
                  <a:gd name="connsiteX75" fmla="*/ 3307 w 10000"/>
                  <a:gd name="connsiteY75" fmla="*/ 9424 h 9980"/>
                  <a:gd name="connsiteX76" fmla="*/ 3361 w 10000"/>
                  <a:gd name="connsiteY76" fmla="*/ 9338 h 9980"/>
                  <a:gd name="connsiteX77" fmla="*/ 3412 w 10000"/>
                  <a:gd name="connsiteY77" fmla="*/ 9272 h 9980"/>
                  <a:gd name="connsiteX78" fmla="*/ 3483 w 10000"/>
                  <a:gd name="connsiteY78" fmla="*/ 9207 h 9980"/>
                  <a:gd name="connsiteX79" fmla="*/ 3550 w 10000"/>
                  <a:gd name="connsiteY79" fmla="*/ 9154 h 9980"/>
                  <a:gd name="connsiteX80" fmla="*/ 3628 w 10000"/>
                  <a:gd name="connsiteY80" fmla="*/ 9101 h 9980"/>
                  <a:gd name="connsiteX81" fmla="*/ 3708 w 10000"/>
                  <a:gd name="connsiteY81" fmla="*/ 9061 h 9980"/>
                  <a:gd name="connsiteX82" fmla="*/ 3799 w 10000"/>
                  <a:gd name="connsiteY82" fmla="*/ 9028 h 9980"/>
                  <a:gd name="connsiteX83" fmla="*/ 3799 w 10000"/>
                  <a:gd name="connsiteY83" fmla="*/ 8181 h 9980"/>
                  <a:gd name="connsiteX84" fmla="*/ 704 w 10000"/>
                  <a:gd name="connsiteY84" fmla="*/ 8195 h 9980"/>
                  <a:gd name="connsiteX85" fmla="*/ 704 w 10000"/>
                  <a:gd name="connsiteY85" fmla="*/ 8822 h 9980"/>
                  <a:gd name="connsiteX86" fmla="*/ 644 w 10000"/>
                  <a:gd name="connsiteY86" fmla="*/ 8902 h 9980"/>
                  <a:gd name="connsiteX87" fmla="*/ 598 w 10000"/>
                  <a:gd name="connsiteY87" fmla="*/ 8988 h 9980"/>
                  <a:gd name="connsiteX88" fmla="*/ 566 w 10000"/>
                  <a:gd name="connsiteY88" fmla="*/ 9081 h 9980"/>
                  <a:gd name="connsiteX89" fmla="*/ 553 w 10000"/>
                  <a:gd name="connsiteY89" fmla="*/ 9187 h 9980"/>
                  <a:gd name="connsiteX90" fmla="*/ 526 w 10000"/>
                  <a:gd name="connsiteY90" fmla="*/ 9180 h 9980"/>
                  <a:gd name="connsiteX91" fmla="*/ 505 w 10000"/>
                  <a:gd name="connsiteY91" fmla="*/ 9180 h 9980"/>
                  <a:gd name="connsiteX92" fmla="*/ 479 w 10000"/>
                  <a:gd name="connsiteY92" fmla="*/ 9174 h 9980"/>
                  <a:gd name="connsiteX93" fmla="*/ 453 w 10000"/>
                  <a:gd name="connsiteY93" fmla="*/ 9174 h 9980"/>
                  <a:gd name="connsiteX94" fmla="*/ 369 w 10000"/>
                  <a:gd name="connsiteY94" fmla="*/ 9180 h 9980"/>
                  <a:gd name="connsiteX95" fmla="*/ 296 w 10000"/>
                  <a:gd name="connsiteY95" fmla="*/ 9200 h 9980"/>
                  <a:gd name="connsiteX96" fmla="*/ 224 w 10000"/>
                  <a:gd name="connsiteY96" fmla="*/ 9227 h 9980"/>
                  <a:gd name="connsiteX97" fmla="*/ 158 w 10000"/>
                  <a:gd name="connsiteY97" fmla="*/ 9265 h 9980"/>
                  <a:gd name="connsiteX98" fmla="*/ 100 w 10000"/>
                  <a:gd name="connsiteY98" fmla="*/ 9318 h 9980"/>
                  <a:gd name="connsiteX99" fmla="*/ 47 w 10000"/>
                  <a:gd name="connsiteY99" fmla="*/ 9371 h 9980"/>
                  <a:gd name="connsiteX100" fmla="*/ 0 w 10000"/>
                  <a:gd name="connsiteY100" fmla="*/ 9438 h 9980"/>
                  <a:gd name="connsiteX101" fmla="*/ 252 w 10000"/>
                  <a:gd name="connsiteY101" fmla="*/ 9510 h 9980"/>
                  <a:gd name="connsiteX102" fmla="*/ 190 w 10000"/>
                  <a:gd name="connsiteY102" fmla="*/ 9461 h 9980"/>
                  <a:gd name="connsiteX103" fmla="*/ 1200 w 10000"/>
                  <a:gd name="connsiteY103" fmla="*/ 8986 h 9980"/>
                  <a:gd name="connsiteX104" fmla="*/ 1660 w 10000"/>
                  <a:gd name="connsiteY104" fmla="*/ 9409 h 9980"/>
                  <a:gd name="connsiteX105" fmla="*/ 8496 w 10000"/>
                  <a:gd name="connsiteY105" fmla="*/ 9980 h 9980"/>
                  <a:gd name="connsiteX106" fmla="*/ 9924 w 10000"/>
                  <a:gd name="connsiteY106" fmla="*/ 9510 h 9980"/>
                  <a:gd name="connsiteX107" fmla="*/ 10000 w 10000"/>
                  <a:gd name="connsiteY107" fmla="*/ 9510 h 9980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190 w 10000"/>
                  <a:gd name="connsiteY102" fmla="*/ 9480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252 w 10000"/>
                  <a:gd name="connsiteY101" fmla="*/ 9529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10000 w 10000"/>
                  <a:gd name="connsiteY0" fmla="*/ 9529 h 10002"/>
                  <a:gd name="connsiteX1" fmla="*/ 10000 w 10000"/>
                  <a:gd name="connsiteY1" fmla="*/ 7382 h 10002"/>
                  <a:gd name="connsiteX2" fmla="*/ 9193 w 10000"/>
                  <a:gd name="connsiteY2" fmla="*/ 7382 h 10002"/>
                  <a:gd name="connsiteX3" fmla="*/ 9193 w 10000"/>
                  <a:gd name="connsiteY3" fmla="*/ 4129 h 10002"/>
                  <a:gd name="connsiteX4" fmla="*/ 7199 w 10000"/>
                  <a:gd name="connsiteY4" fmla="*/ 4129 h 10002"/>
                  <a:gd name="connsiteX5" fmla="*/ 7199 w 10000"/>
                  <a:gd name="connsiteY5" fmla="*/ 3817 h 10002"/>
                  <a:gd name="connsiteX6" fmla="*/ 8792 w 10000"/>
                  <a:gd name="connsiteY6" fmla="*/ 3817 h 10002"/>
                  <a:gd name="connsiteX7" fmla="*/ 8792 w 10000"/>
                  <a:gd name="connsiteY7" fmla="*/ 3499 h 10002"/>
                  <a:gd name="connsiteX8" fmla="*/ 7199 w 10000"/>
                  <a:gd name="connsiteY8" fmla="*/ 3499 h 10002"/>
                  <a:gd name="connsiteX9" fmla="*/ 7199 w 10000"/>
                  <a:gd name="connsiteY9" fmla="*/ 1365 h 10002"/>
                  <a:gd name="connsiteX10" fmla="*/ 4855 w 10000"/>
                  <a:gd name="connsiteY10" fmla="*/ 550 h 10002"/>
                  <a:gd name="connsiteX11" fmla="*/ 4855 w 10000"/>
                  <a:gd name="connsiteY11" fmla="*/ 5673 h 10002"/>
                  <a:gd name="connsiteX12" fmla="*/ 4483 w 10000"/>
                  <a:gd name="connsiteY12" fmla="*/ 5679 h 10002"/>
                  <a:gd name="connsiteX13" fmla="*/ 4483 w 10000"/>
                  <a:gd name="connsiteY13" fmla="*/ 1756 h 10002"/>
                  <a:gd name="connsiteX14" fmla="*/ 3695 w 10000"/>
                  <a:gd name="connsiteY14" fmla="*/ 2061 h 10002"/>
                  <a:gd name="connsiteX15" fmla="*/ 3268 w 10000"/>
                  <a:gd name="connsiteY15" fmla="*/ 2061 h 10002"/>
                  <a:gd name="connsiteX16" fmla="*/ 3268 w 10000"/>
                  <a:gd name="connsiteY16" fmla="*/ 0 h 10002"/>
                  <a:gd name="connsiteX17" fmla="*/ 3111 w 10000"/>
                  <a:gd name="connsiteY17" fmla="*/ 0 h 10002"/>
                  <a:gd name="connsiteX18" fmla="*/ 3111 w 10000"/>
                  <a:gd name="connsiteY18" fmla="*/ 2061 h 10002"/>
                  <a:gd name="connsiteX19" fmla="*/ 2750 w 10000"/>
                  <a:gd name="connsiteY19" fmla="*/ 2061 h 10002"/>
                  <a:gd name="connsiteX20" fmla="*/ 2750 w 10000"/>
                  <a:gd name="connsiteY20" fmla="*/ 2492 h 10002"/>
                  <a:gd name="connsiteX21" fmla="*/ 2100 w 10000"/>
                  <a:gd name="connsiteY21" fmla="*/ 2816 h 10002"/>
                  <a:gd name="connsiteX22" fmla="*/ 2100 w 10000"/>
                  <a:gd name="connsiteY22" fmla="*/ 4414 h 10002"/>
                  <a:gd name="connsiteX23" fmla="*/ 1752 w 10000"/>
                  <a:gd name="connsiteY23" fmla="*/ 4414 h 10002"/>
                  <a:gd name="connsiteX24" fmla="*/ 1752 w 10000"/>
                  <a:gd name="connsiteY24" fmla="*/ 4838 h 10002"/>
                  <a:gd name="connsiteX25" fmla="*/ 2100 w 10000"/>
                  <a:gd name="connsiteY25" fmla="*/ 4838 h 10002"/>
                  <a:gd name="connsiteX26" fmla="*/ 2100 w 10000"/>
                  <a:gd name="connsiteY26" fmla="*/ 5368 h 10002"/>
                  <a:gd name="connsiteX27" fmla="*/ 1752 w 10000"/>
                  <a:gd name="connsiteY27" fmla="*/ 5368 h 10002"/>
                  <a:gd name="connsiteX28" fmla="*/ 1752 w 10000"/>
                  <a:gd name="connsiteY28" fmla="*/ 5792 h 10002"/>
                  <a:gd name="connsiteX29" fmla="*/ 2100 w 10000"/>
                  <a:gd name="connsiteY29" fmla="*/ 5792 h 10002"/>
                  <a:gd name="connsiteX30" fmla="*/ 2100 w 10000"/>
                  <a:gd name="connsiteY30" fmla="*/ 7044 h 10002"/>
                  <a:gd name="connsiteX31" fmla="*/ 1063 w 10000"/>
                  <a:gd name="connsiteY31" fmla="*/ 7044 h 10002"/>
                  <a:gd name="connsiteX32" fmla="*/ 1063 w 10000"/>
                  <a:gd name="connsiteY32" fmla="*/ 7820 h 10002"/>
                  <a:gd name="connsiteX33" fmla="*/ 1595 w 10000"/>
                  <a:gd name="connsiteY33" fmla="*/ 7840 h 10002"/>
                  <a:gd name="connsiteX34" fmla="*/ 2316 w 10000"/>
                  <a:gd name="connsiteY34" fmla="*/ 7316 h 10002"/>
                  <a:gd name="connsiteX35" fmla="*/ 2310 w 10000"/>
                  <a:gd name="connsiteY35" fmla="*/ 7820 h 10002"/>
                  <a:gd name="connsiteX36" fmla="*/ 2972 w 10000"/>
                  <a:gd name="connsiteY36" fmla="*/ 7369 h 10002"/>
                  <a:gd name="connsiteX37" fmla="*/ 2972 w 10000"/>
                  <a:gd name="connsiteY37" fmla="*/ 7820 h 10002"/>
                  <a:gd name="connsiteX38" fmla="*/ 3628 w 10000"/>
                  <a:gd name="connsiteY38" fmla="*/ 7362 h 10002"/>
                  <a:gd name="connsiteX39" fmla="*/ 3634 w 10000"/>
                  <a:gd name="connsiteY39" fmla="*/ 7813 h 10002"/>
                  <a:gd name="connsiteX40" fmla="*/ 4265 w 10000"/>
                  <a:gd name="connsiteY40" fmla="*/ 7329 h 10002"/>
                  <a:gd name="connsiteX41" fmla="*/ 4265 w 10000"/>
                  <a:gd name="connsiteY41" fmla="*/ 8615 h 10002"/>
                  <a:gd name="connsiteX42" fmla="*/ 4338 w 10000"/>
                  <a:gd name="connsiteY42" fmla="*/ 8522 h 10002"/>
                  <a:gd name="connsiteX43" fmla="*/ 4410 w 10000"/>
                  <a:gd name="connsiteY43" fmla="*/ 8436 h 10002"/>
                  <a:gd name="connsiteX44" fmla="*/ 4497 w 10000"/>
                  <a:gd name="connsiteY44" fmla="*/ 8363 h 10002"/>
                  <a:gd name="connsiteX45" fmla="*/ 4594 w 10000"/>
                  <a:gd name="connsiteY45" fmla="*/ 8297 h 10002"/>
                  <a:gd name="connsiteX46" fmla="*/ 4692 w 10000"/>
                  <a:gd name="connsiteY46" fmla="*/ 8251 h 10002"/>
                  <a:gd name="connsiteX47" fmla="*/ 4797 w 10000"/>
                  <a:gd name="connsiteY47" fmla="*/ 8217 h 10002"/>
                  <a:gd name="connsiteX48" fmla="*/ 4907 w 10000"/>
                  <a:gd name="connsiteY48" fmla="*/ 8191 h 10002"/>
                  <a:gd name="connsiteX49" fmla="*/ 5033 w 10000"/>
                  <a:gd name="connsiteY49" fmla="*/ 8184 h 10002"/>
                  <a:gd name="connsiteX50" fmla="*/ 5204 w 10000"/>
                  <a:gd name="connsiteY50" fmla="*/ 8197 h 10002"/>
                  <a:gd name="connsiteX51" fmla="*/ 5375 w 10000"/>
                  <a:gd name="connsiteY51" fmla="*/ 8244 h 10002"/>
                  <a:gd name="connsiteX52" fmla="*/ 5512 w 10000"/>
                  <a:gd name="connsiteY52" fmla="*/ 8323 h 10002"/>
                  <a:gd name="connsiteX53" fmla="*/ 5651 w 10000"/>
                  <a:gd name="connsiteY53" fmla="*/ 8423 h 10002"/>
                  <a:gd name="connsiteX54" fmla="*/ 5770 w 10000"/>
                  <a:gd name="connsiteY54" fmla="*/ 8542 h 10002"/>
                  <a:gd name="connsiteX55" fmla="*/ 5847 w 10000"/>
                  <a:gd name="connsiteY55" fmla="*/ 8688 h 10002"/>
                  <a:gd name="connsiteX56" fmla="*/ 5920 w 10000"/>
                  <a:gd name="connsiteY56" fmla="*/ 8840 h 10002"/>
                  <a:gd name="connsiteX57" fmla="*/ 5945 w 10000"/>
                  <a:gd name="connsiteY57" fmla="*/ 9006 h 10002"/>
                  <a:gd name="connsiteX58" fmla="*/ 5979 w 10000"/>
                  <a:gd name="connsiteY58" fmla="*/ 8999 h 10002"/>
                  <a:gd name="connsiteX59" fmla="*/ 6003 w 10000"/>
                  <a:gd name="connsiteY59" fmla="*/ 8999 h 10002"/>
                  <a:gd name="connsiteX60" fmla="*/ 6030 w 10000"/>
                  <a:gd name="connsiteY60" fmla="*/ 8993 h 10002"/>
                  <a:gd name="connsiteX61" fmla="*/ 6056 w 10000"/>
                  <a:gd name="connsiteY61" fmla="*/ 8993 h 10002"/>
                  <a:gd name="connsiteX62" fmla="*/ 6089 w 10000"/>
                  <a:gd name="connsiteY62" fmla="*/ 8986 h 10002"/>
                  <a:gd name="connsiteX63" fmla="*/ 6121 w 10000"/>
                  <a:gd name="connsiteY63" fmla="*/ 8986 h 10002"/>
                  <a:gd name="connsiteX64" fmla="*/ 6148 w 10000"/>
                  <a:gd name="connsiteY64" fmla="*/ 8986 h 10002"/>
                  <a:gd name="connsiteX65" fmla="*/ 6182 w 10000"/>
                  <a:gd name="connsiteY65" fmla="*/ 8986 h 10002"/>
                  <a:gd name="connsiteX66" fmla="*/ 6319 w 10000"/>
                  <a:gd name="connsiteY66" fmla="*/ 8993 h 10002"/>
                  <a:gd name="connsiteX67" fmla="*/ 6443 w 10000"/>
                  <a:gd name="connsiteY67" fmla="*/ 9026 h 10002"/>
                  <a:gd name="connsiteX68" fmla="*/ 6568 w 10000"/>
                  <a:gd name="connsiteY68" fmla="*/ 9072 h 10002"/>
                  <a:gd name="connsiteX69" fmla="*/ 6681 w 10000"/>
                  <a:gd name="connsiteY69" fmla="*/ 9139 h 10002"/>
                  <a:gd name="connsiteX70" fmla="*/ 6784 w 10000"/>
                  <a:gd name="connsiteY70" fmla="*/ 9218 h 10002"/>
                  <a:gd name="connsiteX71" fmla="*/ 6877 w 10000"/>
                  <a:gd name="connsiteY71" fmla="*/ 9304 h 10002"/>
                  <a:gd name="connsiteX72" fmla="*/ 6950 w 10000"/>
                  <a:gd name="connsiteY72" fmla="*/ 9417 h 10002"/>
                  <a:gd name="connsiteX73" fmla="*/ 7016 w 10000"/>
                  <a:gd name="connsiteY73" fmla="*/ 9529 h 10002"/>
                  <a:gd name="connsiteX74" fmla="*/ 3268 w 10000"/>
                  <a:gd name="connsiteY74" fmla="*/ 9529 h 10002"/>
                  <a:gd name="connsiteX75" fmla="*/ 3307 w 10000"/>
                  <a:gd name="connsiteY75" fmla="*/ 9443 h 10002"/>
                  <a:gd name="connsiteX76" fmla="*/ 3361 w 10000"/>
                  <a:gd name="connsiteY76" fmla="*/ 9357 h 10002"/>
                  <a:gd name="connsiteX77" fmla="*/ 3412 w 10000"/>
                  <a:gd name="connsiteY77" fmla="*/ 9291 h 10002"/>
                  <a:gd name="connsiteX78" fmla="*/ 3483 w 10000"/>
                  <a:gd name="connsiteY78" fmla="*/ 9225 h 10002"/>
                  <a:gd name="connsiteX79" fmla="*/ 3550 w 10000"/>
                  <a:gd name="connsiteY79" fmla="*/ 9172 h 10002"/>
                  <a:gd name="connsiteX80" fmla="*/ 3628 w 10000"/>
                  <a:gd name="connsiteY80" fmla="*/ 9119 h 10002"/>
                  <a:gd name="connsiteX81" fmla="*/ 3708 w 10000"/>
                  <a:gd name="connsiteY81" fmla="*/ 9079 h 10002"/>
                  <a:gd name="connsiteX82" fmla="*/ 3799 w 10000"/>
                  <a:gd name="connsiteY82" fmla="*/ 9046 h 10002"/>
                  <a:gd name="connsiteX83" fmla="*/ 3799 w 10000"/>
                  <a:gd name="connsiteY83" fmla="*/ 8197 h 10002"/>
                  <a:gd name="connsiteX84" fmla="*/ 704 w 10000"/>
                  <a:gd name="connsiteY84" fmla="*/ 8211 h 10002"/>
                  <a:gd name="connsiteX85" fmla="*/ 704 w 10000"/>
                  <a:gd name="connsiteY85" fmla="*/ 8840 h 10002"/>
                  <a:gd name="connsiteX86" fmla="*/ 644 w 10000"/>
                  <a:gd name="connsiteY86" fmla="*/ 8920 h 10002"/>
                  <a:gd name="connsiteX87" fmla="*/ 598 w 10000"/>
                  <a:gd name="connsiteY87" fmla="*/ 9006 h 10002"/>
                  <a:gd name="connsiteX88" fmla="*/ 566 w 10000"/>
                  <a:gd name="connsiteY88" fmla="*/ 9099 h 10002"/>
                  <a:gd name="connsiteX89" fmla="*/ 553 w 10000"/>
                  <a:gd name="connsiteY89" fmla="*/ 9205 h 10002"/>
                  <a:gd name="connsiteX90" fmla="*/ 526 w 10000"/>
                  <a:gd name="connsiteY90" fmla="*/ 9198 h 10002"/>
                  <a:gd name="connsiteX91" fmla="*/ 505 w 10000"/>
                  <a:gd name="connsiteY91" fmla="*/ 9198 h 10002"/>
                  <a:gd name="connsiteX92" fmla="*/ 479 w 10000"/>
                  <a:gd name="connsiteY92" fmla="*/ 9192 h 10002"/>
                  <a:gd name="connsiteX93" fmla="*/ 453 w 10000"/>
                  <a:gd name="connsiteY93" fmla="*/ 9192 h 10002"/>
                  <a:gd name="connsiteX94" fmla="*/ 369 w 10000"/>
                  <a:gd name="connsiteY94" fmla="*/ 9198 h 10002"/>
                  <a:gd name="connsiteX95" fmla="*/ 296 w 10000"/>
                  <a:gd name="connsiteY95" fmla="*/ 9218 h 10002"/>
                  <a:gd name="connsiteX96" fmla="*/ 224 w 10000"/>
                  <a:gd name="connsiteY96" fmla="*/ 9245 h 10002"/>
                  <a:gd name="connsiteX97" fmla="*/ 158 w 10000"/>
                  <a:gd name="connsiteY97" fmla="*/ 9284 h 10002"/>
                  <a:gd name="connsiteX98" fmla="*/ 100 w 10000"/>
                  <a:gd name="connsiteY98" fmla="*/ 9337 h 10002"/>
                  <a:gd name="connsiteX99" fmla="*/ 47 w 10000"/>
                  <a:gd name="connsiteY99" fmla="*/ 9390 h 10002"/>
                  <a:gd name="connsiteX100" fmla="*/ 0 w 10000"/>
                  <a:gd name="connsiteY100" fmla="*/ 9457 h 10002"/>
                  <a:gd name="connsiteX101" fmla="*/ 1114 w 10000"/>
                  <a:gd name="connsiteY101" fmla="*/ 8760 h 10002"/>
                  <a:gd name="connsiteX102" fmla="*/ 765 w 10000"/>
                  <a:gd name="connsiteY102" fmla="*/ 8947 h 10002"/>
                  <a:gd name="connsiteX103" fmla="*/ 1200 w 10000"/>
                  <a:gd name="connsiteY103" fmla="*/ 9004 h 10002"/>
                  <a:gd name="connsiteX104" fmla="*/ 1660 w 10000"/>
                  <a:gd name="connsiteY104" fmla="*/ 9428 h 10002"/>
                  <a:gd name="connsiteX105" fmla="*/ 8496 w 10000"/>
                  <a:gd name="connsiteY105" fmla="*/ 10000 h 10002"/>
                  <a:gd name="connsiteX106" fmla="*/ 9924 w 10000"/>
                  <a:gd name="connsiteY106" fmla="*/ 9529 h 10002"/>
                  <a:gd name="connsiteX107" fmla="*/ 10000 w 10000"/>
                  <a:gd name="connsiteY107" fmla="*/ 9529 h 10002"/>
                  <a:gd name="connsiteX0" fmla="*/ 9954 w 9954"/>
                  <a:gd name="connsiteY0" fmla="*/ 9529 h 10002"/>
                  <a:gd name="connsiteX1" fmla="*/ 9954 w 9954"/>
                  <a:gd name="connsiteY1" fmla="*/ 7382 h 10002"/>
                  <a:gd name="connsiteX2" fmla="*/ 9147 w 9954"/>
                  <a:gd name="connsiteY2" fmla="*/ 7382 h 10002"/>
                  <a:gd name="connsiteX3" fmla="*/ 9147 w 9954"/>
                  <a:gd name="connsiteY3" fmla="*/ 4129 h 10002"/>
                  <a:gd name="connsiteX4" fmla="*/ 7153 w 9954"/>
                  <a:gd name="connsiteY4" fmla="*/ 4129 h 10002"/>
                  <a:gd name="connsiteX5" fmla="*/ 7153 w 9954"/>
                  <a:gd name="connsiteY5" fmla="*/ 3817 h 10002"/>
                  <a:gd name="connsiteX6" fmla="*/ 8746 w 9954"/>
                  <a:gd name="connsiteY6" fmla="*/ 3817 h 10002"/>
                  <a:gd name="connsiteX7" fmla="*/ 8746 w 9954"/>
                  <a:gd name="connsiteY7" fmla="*/ 3499 h 10002"/>
                  <a:gd name="connsiteX8" fmla="*/ 7153 w 9954"/>
                  <a:gd name="connsiteY8" fmla="*/ 3499 h 10002"/>
                  <a:gd name="connsiteX9" fmla="*/ 7153 w 9954"/>
                  <a:gd name="connsiteY9" fmla="*/ 1365 h 10002"/>
                  <a:gd name="connsiteX10" fmla="*/ 4809 w 9954"/>
                  <a:gd name="connsiteY10" fmla="*/ 550 h 10002"/>
                  <a:gd name="connsiteX11" fmla="*/ 4809 w 9954"/>
                  <a:gd name="connsiteY11" fmla="*/ 5673 h 10002"/>
                  <a:gd name="connsiteX12" fmla="*/ 4437 w 9954"/>
                  <a:gd name="connsiteY12" fmla="*/ 5679 h 10002"/>
                  <a:gd name="connsiteX13" fmla="*/ 4437 w 9954"/>
                  <a:gd name="connsiteY13" fmla="*/ 1756 h 10002"/>
                  <a:gd name="connsiteX14" fmla="*/ 3649 w 9954"/>
                  <a:gd name="connsiteY14" fmla="*/ 2061 h 10002"/>
                  <a:gd name="connsiteX15" fmla="*/ 3222 w 9954"/>
                  <a:gd name="connsiteY15" fmla="*/ 2061 h 10002"/>
                  <a:gd name="connsiteX16" fmla="*/ 3222 w 9954"/>
                  <a:gd name="connsiteY16" fmla="*/ 0 h 10002"/>
                  <a:gd name="connsiteX17" fmla="*/ 3065 w 9954"/>
                  <a:gd name="connsiteY17" fmla="*/ 0 h 10002"/>
                  <a:gd name="connsiteX18" fmla="*/ 3065 w 9954"/>
                  <a:gd name="connsiteY18" fmla="*/ 2061 h 10002"/>
                  <a:gd name="connsiteX19" fmla="*/ 2704 w 9954"/>
                  <a:gd name="connsiteY19" fmla="*/ 2061 h 10002"/>
                  <a:gd name="connsiteX20" fmla="*/ 2704 w 9954"/>
                  <a:gd name="connsiteY20" fmla="*/ 2492 h 10002"/>
                  <a:gd name="connsiteX21" fmla="*/ 2054 w 9954"/>
                  <a:gd name="connsiteY21" fmla="*/ 2816 h 10002"/>
                  <a:gd name="connsiteX22" fmla="*/ 2054 w 9954"/>
                  <a:gd name="connsiteY22" fmla="*/ 4414 h 10002"/>
                  <a:gd name="connsiteX23" fmla="*/ 1706 w 9954"/>
                  <a:gd name="connsiteY23" fmla="*/ 4414 h 10002"/>
                  <a:gd name="connsiteX24" fmla="*/ 1706 w 9954"/>
                  <a:gd name="connsiteY24" fmla="*/ 4838 h 10002"/>
                  <a:gd name="connsiteX25" fmla="*/ 2054 w 9954"/>
                  <a:gd name="connsiteY25" fmla="*/ 4838 h 10002"/>
                  <a:gd name="connsiteX26" fmla="*/ 2054 w 9954"/>
                  <a:gd name="connsiteY26" fmla="*/ 5368 h 10002"/>
                  <a:gd name="connsiteX27" fmla="*/ 1706 w 9954"/>
                  <a:gd name="connsiteY27" fmla="*/ 5368 h 10002"/>
                  <a:gd name="connsiteX28" fmla="*/ 1706 w 9954"/>
                  <a:gd name="connsiteY28" fmla="*/ 5792 h 10002"/>
                  <a:gd name="connsiteX29" fmla="*/ 2054 w 9954"/>
                  <a:gd name="connsiteY29" fmla="*/ 5792 h 10002"/>
                  <a:gd name="connsiteX30" fmla="*/ 2054 w 9954"/>
                  <a:gd name="connsiteY30" fmla="*/ 7044 h 10002"/>
                  <a:gd name="connsiteX31" fmla="*/ 1017 w 9954"/>
                  <a:gd name="connsiteY31" fmla="*/ 7044 h 10002"/>
                  <a:gd name="connsiteX32" fmla="*/ 1017 w 9954"/>
                  <a:gd name="connsiteY32" fmla="*/ 7820 h 10002"/>
                  <a:gd name="connsiteX33" fmla="*/ 1549 w 9954"/>
                  <a:gd name="connsiteY33" fmla="*/ 7840 h 10002"/>
                  <a:gd name="connsiteX34" fmla="*/ 2270 w 9954"/>
                  <a:gd name="connsiteY34" fmla="*/ 7316 h 10002"/>
                  <a:gd name="connsiteX35" fmla="*/ 2264 w 9954"/>
                  <a:gd name="connsiteY35" fmla="*/ 7820 h 10002"/>
                  <a:gd name="connsiteX36" fmla="*/ 2926 w 9954"/>
                  <a:gd name="connsiteY36" fmla="*/ 7369 h 10002"/>
                  <a:gd name="connsiteX37" fmla="*/ 2926 w 9954"/>
                  <a:gd name="connsiteY37" fmla="*/ 7820 h 10002"/>
                  <a:gd name="connsiteX38" fmla="*/ 3582 w 9954"/>
                  <a:gd name="connsiteY38" fmla="*/ 7362 h 10002"/>
                  <a:gd name="connsiteX39" fmla="*/ 3588 w 9954"/>
                  <a:gd name="connsiteY39" fmla="*/ 7813 h 10002"/>
                  <a:gd name="connsiteX40" fmla="*/ 4219 w 9954"/>
                  <a:gd name="connsiteY40" fmla="*/ 7329 h 10002"/>
                  <a:gd name="connsiteX41" fmla="*/ 4219 w 9954"/>
                  <a:gd name="connsiteY41" fmla="*/ 8615 h 10002"/>
                  <a:gd name="connsiteX42" fmla="*/ 4292 w 9954"/>
                  <a:gd name="connsiteY42" fmla="*/ 8522 h 10002"/>
                  <a:gd name="connsiteX43" fmla="*/ 4364 w 9954"/>
                  <a:gd name="connsiteY43" fmla="*/ 8436 h 10002"/>
                  <a:gd name="connsiteX44" fmla="*/ 4451 w 9954"/>
                  <a:gd name="connsiteY44" fmla="*/ 8363 h 10002"/>
                  <a:gd name="connsiteX45" fmla="*/ 4548 w 9954"/>
                  <a:gd name="connsiteY45" fmla="*/ 8297 h 10002"/>
                  <a:gd name="connsiteX46" fmla="*/ 4646 w 9954"/>
                  <a:gd name="connsiteY46" fmla="*/ 8251 h 10002"/>
                  <a:gd name="connsiteX47" fmla="*/ 4751 w 9954"/>
                  <a:gd name="connsiteY47" fmla="*/ 8217 h 10002"/>
                  <a:gd name="connsiteX48" fmla="*/ 4861 w 9954"/>
                  <a:gd name="connsiteY48" fmla="*/ 8191 h 10002"/>
                  <a:gd name="connsiteX49" fmla="*/ 4987 w 9954"/>
                  <a:gd name="connsiteY49" fmla="*/ 8184 h 10002"/>
                  <a:gd name="connsiteX50" fmla="*/ 5158 w 9954"/>
                  <a:gd name="connsiteY50" fmla="*/ 8197 h 10002"/>
                  <a:gd name="connsiteX51" fmla="*/ 5329 w 9954"/>
                  <a:gd name="connsiteY51" fmla="*/ 8244 h 10002"/>
                  <a:gd name="connsiteX52" fmla="*/ 5466 w 9954"/>
                  <a:gd name="connsiteY52" fmla="*/ 8323 h 10002"/>
                  <a:gd name="connsiteX53" fmla="*/ 5605 w 9954"/>
                  <a:gd name="connsiteY53" fmla="*/ 8423 h 10002"/>
                  <a:gd name="connsiteX54" fmla="*/ 5724 w 9954"/>
                  <a:gd name="connsiteY54" fmla="*/ 8542 h 10002"/>
                  <a:gd name="connsiteX55" fmla="*/ 5801 w 9954"/>
                  <a:gd name="connsiteY55" fmla="*/ 8688 h 10002"/>
                  <a:gd name="connsiteX56" fmla="*/ 5874 w 9954"/>
                  <a:gd name="connsiteY56" fmla="*/ 8840 h 10002"/>
                  <a:gd name="connsiteX57" fmla="*/ 5899 w 9954"/>
                  <a:gd name="connsiteY57" fmla="*/ 9006 h 10002"/>
                  <a:gd name="connsiteX58" fmla="*/ 5933 w 9954"/>
                  <a:gd name="connsiteY58" fmla="*/ 8999 h 10002"/>
                  <a:gd name="connsiteX59" fmla="*/ 5957 w 9954"/>
                  <a:gd name="connsiteY59" fmla="*/ 8999 h 10002"/>
                  <a:gd name="connsiteX60" fmla="*/ 5984 w 9954"/>
                  <a:gd name="connsiteY60" fmla="*/ 8993 h 10002"/>
                  <a:gd name="connsiteX61" fmla="*/ 6010 w 9954"/>
                  <a:gd name="connsiteY61" fmla="*/ 8993 h 10002"/>
                  <a:gd name="connsiteX62" fmla="*/ 6043 w 9954"/>
                  <a:gd name="connsiteY62" fmla="*/ 8986 h 10002"/>
                  <a:gd name="connsiteX63" fmla="*/ 6075 w 9954"/>
                  <a:gd name="connsiteY63" fmla="*/ 8986 h 10002"/>
                  <a:gd name="connsiteX64" fmla="*/ 6102 w 9954"/>
                  <a:gd name="connsiteY64" fmla="*/ 8986 h 10002"/>
                  <a:gd name="connsiteX65" fmla="*/ 6136 w 9954"/>
                  <a:gd name="connsiteY65" fmla="*/ 8986 h 10002"/>
                  <a:gd name="connsiteX66" fmla="*/ 6273 w 9954"/>
                  <a:gd name="connsiteY66" fmla="*/ 8993 h 10002"/>
                  <a:gd name="connsiteX67" fmla="*/ 6397 w 9954"/>
                  <a:gd name="connsiteY67" fmla="*/ 9026 h 10002"/>
                  <a:gd name="connsiteX68" fmla="*/ 6522 w 9954"/>
                  <a:gd name="connsiteY68" fmla="*/ 9072 h 10002"/>
                  <a:gd name="connsiteX69" fmla="*/ 6635 w 9954"/>
                  <a:gd name="connsiteY69" fmla="*/ 9139 h 10002"/>
                  <a:gd name="connsiteX70" fmla="*/ 6738 w 9954"/>
                  <a:gd name="connsiteY70" fmla="*/ 9218 h 10002"/>
                  <a:gd name="connsiteX71" fmla="*/ 6831 w 9954"/>
                  <a:gd name="connsiteY71" fmla="*/ 9304 h 10002"/>
                  <a:gd name="connsiteX72" fmla="*/ 6904 w 9954"/>
                  <a:gd name="connsiteY72" fmla="*/ 9417 h 10002"/>
                  <a:gd name="connsiteX73" fmla="*/ 6970 w 9954"/>
                  <a:gd name="connsiteY73" fmla="*/ 9529 h 10002"/>
                  <a:gd name="connsiteX74" fmla="*/ 3222 w 9954"/>
                  <a:gd name="connsiteY74" fmla="*/ 9529 h 10002"/>
                  <a:gd name="connsiteX75" fmla="*/ 3261 w 9954"/>
                  <a:gd name="connsiteY75" fmla="*/ 9443 h 10002"/>
                  <a:gd name="connsiteX76" fmla="*/ 3315 w 9954"/>
                  <a:gd name="connsiteY76" fmla="*/ 9357 h 10002"/>
                  <a:gd name="connsiteX77" fmla="*/ 3366 w 9954"/>
                  <a:gd name="connsiteY77" fmla="*/ 9291 h 10002"/>
                  <a:gd name="connsiteX78" fmla="*/ 3437 w 9954"/>
                  <a:gd name="connsiteY78" fmla="*/ 9225 h 10002"/>
                  <a:gd name="connsiteX79" fmla="*/ 3504 w 9954"/>
                  <a:gd name="connsiteY79" fmla="*/ 9172 h 10002"/>
                  <a:gd name="connsiteX80" fmla="*/ 3582 w 9954"/>
                  <a:gd name="connsiteY80" fmla="*/ 9119 h 10002"/>
                  <a:gd name="connsiteX81" fmla="*/ 3662 w 9954"/>
                  <a:gd name="connsiteY81" fmla="*/ 9079 h 10002"/>
                  <a:gd name="connsiteX82" fmla="*/ 3753 w 9954"/>
                  <a:gd name="connsiteY82" fmla="*/ 9046 h 10002"/>
                  <a:gd name="connsiteX83" fmla="*/ 3753 w 9954"/>
                  <a:gd name="connsiteY83" fmla="*/ 8197 h 10002"/>
                  <a:gd name="connsiteX84" fmla="*/ 658 w 9954"/>
                  <a:gd name="connsiteY84" fmla="*/ 8211 h 10002"/>
                  <a:gd name="connsiteX85" fmla="*/ 658 w 9954"/>
                  <a:gd name="connsiteY85" fmla="*/ 8840 h 10002"/>
                  <a:gd name="connsiteX86" fmla="*/ 598 w 9954"/>
                  <a:gd name="connsiteY86" fmla="*/ 8920 h 10002"/>
                  <a:gd name="connsiteX87" fmla="*/ 552 w 9954"/>
                  <a:gd name="connsiteY87" fmla="*/ 9006 h 10002"/>
                  <a:gd name="connsiteX88" fmla="*/ 520 w 9954"/>
                  <a:gd name="connsiteY88" fmla="*/ 9099 h 10002"/>
                  <a:gd name="connsiteX89" fmla="*/ 507 w 9954"/>
                  <a:gd name="connsiteY89" fmla="*/ 9205 h 10002"/>
                  <a:gd name="connsiteX90" fmla="*/ 480 w 9954"/>
                  <a:gd name="connsiteY90" fmla="*/ 9198 h 10002"/>
                  <a:gd name="connsiteX91" fmla="*/ 459 w 9954"/>
                  <a:gd name="connsiteY91" fmla="*/ 9198 h 10002"/>
                  <a:gd name="connsiteX92" fmla="*/ 433 w 9954"/>
                  <a:gd name="connsiteY92" fmla="*/ 9192 h 10002"/>
                  <a:gd name="connsiteX93" fmla="*/ 407 w 9954"/>
                  <a:gd name="connsiteY93" fmla="*/ 9192 h 10002"/>
                  <a:gd name="connsiteX94" fmla="*/ 323 w 9954"/>
                  <a:gd name="connsiteY94" fmla="*/ 9198 h 10002"/>
                  <a:gd name="connsiteX95" fmla="*/ 250 w 9954"/>
                  <a:gd name="connsiteY95" fmla="*/ 9218 h 10002"/>
                  <a:gd name="connsiteX96" fmla="*/ 178 w 9954"/>
                  <a:gd name="connsiteY96" fmla="*/ 9245 h 10002"/>
                  <a:gd name="connsiteX97" fmla="*/ 112 w 9954"/>
                  <a:gd name="connsiteY97" fmla="*/ 9284 h 10002"/>
                  <a:gd name="connsiteX98" fmla="*/ 54 w 9954"/>
                  <a:gd name="connsiteY98" fmla="*/ 9337 h 10002"/>
                  <a:gd name="connsiteX99" fmla="*/ 1 w 9954"/>
                  <a:gd name="connsiteY99" fmla="*/ 9390 h 10002"/>
                  <a:gd name="connsiteX100" fmla="*/ 184 w 9954"/>
                  <a:gd name="connsiteY100" fmla="*/ 7089 h 10002"/>
                  <a:gd name="connsiteX101" fmla="*/ 1068 w 9954"/>
                  <a:gd name="connsiteY101" fmla="*/ 8760 h 10002"/>
                  <a:gd name="connsiteX102" fmla="*/ 719 w 9954"/>
                  <a:gd name="connsiteY102" fmla="*/ 8947 h 10002"/>
                  <a:gd name="connsiteX103" fmla="*/ 1154 w 9954"/>
                  <a:gd name="connsiteY103" fmla="*/ 9004 h 10002"/>
                  <a:gd name="connsiteX104" fmla="*/ 1614 w 9954"/>
                  <a:gd name="connsiteY104" fmla="*/ 9428 h 10002"/>
                  <a:gd name="connsiteX105" fmla="*/ 8450 w 9954"/>
                  <a:gd name="connsiteY105" fmla="*/ 10000 h 10002"/>
                  <a:gd name="connsiteX106" fmla="*/ 9878 w 9954"/>
                  <a:gd name="connsiteY106" fmla="*/ 9529 h 10002"/>
                  <a:gd name="connsiteX107" fmla="*/ 9954 w 9954"/>
                  <a:gd name="connsiteY107" fmla="*/ 9529 h 10002"/>
                  <a:gd name="connsiteX0" fmla="*/ 9947 w 9947"/>
                  <a:gd name="connsiteY0" fmla="*/ 9527 h 10000"/>
                  <a:gd name="connsiteX1" fmla="*/ 9947 w 9947"/>
                  <a:gd name="connsiteY1" fmla="*/ 7381 h 10000"/>
                  <a:gd name="connsiteX2" fmla="*/ 9136 w 9947"/>
                  <a:gd name="connsiteY2" fmla="*/ 7381 h 10000"/>
                  <a:gd name="connsiteX3" fmla="*/ 9136 w 9947"/>
                  <a:gd name="connsiteY3" fmla="*/ 4128 h 10000"/>
                  <a:gd name="connsiteX4" fmla="*/ 7133 w 9947"/>
                  <a:gd name="connsiteY4" fmla="*/ 4128 h 10000"/>
                  <a:gd name="connsiteX5" fmla="*/ 7133 w 9947"/>
                  <a:gd name="connsiteY5" fmla="*/ 3816 h 10000"/>
                  <a:gd name="connsiteX6" fmla="*/ 8733 w 9947"/>
                  <a:gd name="connsiteY6" fmla="*/ 3816 h 10000"/>
                  <a:gd name="connsiteX7" fmla="*/ 8733 w 9947"/>
                  <a:gd name="connsiteY7" fmla="*/ 3498 h 10000"/>
                  <a:gd name="connsiteX8" fmla="*/ 7133 w 9947"/>
                  <a:gd name="connsiteY8" fmla="*/ 3498 h 10000"/>
                  <a:gd name="connsiteX9" fmla="*/ 7133 w 9947"/>
                  <a:gd name="connsiteY9" fmla="*/ 1365 h 10000"/>
                  <a:gd name="connsiteX10" fmla="*/ 4778 w 9947"/>
                  <a:gd name="connsiteY10" fmla="*/ 550 h 10000"/>
                  <a:gd name="connsiteX11" fmla="*/ 4778 w 9947"/>
                  <a:gd name="connsiteY11" fmla="*/ 5672 h 10000"/>
                  <a:gd name="connsiteX12" fmla="*/ 4405 w 9947"/>
                  <a:gd name="connsiteY12" fmla="*/ 5678 h 10000"/>
                  <a:gd name="connsiteX13" fmla="*/ 4405 w 9947"/>
                  <a:gd name="connsiteY13" fmla="*/ 1756 h 10000"/>
                  <a:gd name="connsiteX14" fmla="*/ 3613 w 9947"/>
                  <a:gd name="connsiteY14" fmla="*/ 2061 h 10000"/>
                  <a:gd name="connsiteX15" fmla="*/ 3184 w 9947"/>
                  <a:gd name="connsiteY15" fmla="*/ 2061 h 10000"/>
                  <a:gd name="connsiteX16" fmla="*/ 3184 w 9947"/>
                  <a:gd name="connsiteY16" fmla="*/ 0 h 10000"/>
                  <a:gd name="connsiteX17" fmla="*/ 3026 w 9947"/>
                  <a:gd name="connsiteY17" fmla="*/ 0 h 10000"/>
                  <a:gd name="connsiteX18" fmla="*/ 3026 w 9947"/>
                  <a:gd name="connsiteY18" fmla="*/ 2061 h 10000"/>
                  <a:gd name="connsiteX19" fmla="*/ 2663 w 9947"/>
                  <a:gd name="connsiteY19" fmla="*/ 2061 h 10000"/>
                  <a:gd name="connsiteX20" fmla="*/ 2663 w 9947"/>
                  <a:gd name="connsiteY20" fmla="*/ 2492 h 10000"/>
                  <a:gd name="connsiteX21" fmla="*/ 2010 w 9947"/>
                  <a:gd name="connsiteY21" fmla="*/ 2815 h 10000"/>
                  <a:gd name="connsiteX22" fmla="*/ 2010 w 9947"/>
                  <a:gd name="connsiteY22" fmla="*/ 4413 h 10000"/>
                  <a:gd name="connsiteX23" fmla="*/ 1661 w 9947"/>
                  <a:gd name="connsiteY23" fmla="*/ 4413 h 10000"/>
                  <a:gd name="connsiteX24" fmla="*/ 1661 w 9947"/>
                  <a:gd name="connsiteY24" fmla="*/ 4837 h 10000"/>
                  <a:gd name="connsiteX25" fmla="*/ 2010 w 9947"/>
                  <a:gd name="connsiteY25" fmla="*/ 4837 h 10000"/>
                  <a:gd name="connsiteX26" fmla="*/ 2010 w 9947"/>
                  <a:gd name="connsiteY26" fmla="*/ 5367 h 10000"/>
                  <a:gd name="connsiteX27" fmla="*/ 1661 w 9947"/>
                  <a:gd name="connsiteY27" fmla="*/ 5367 h 10000"/>
                  <a:gd name="connsiteX28" fmla="*/ 1661 w 9947"/>
                  <a:gd name="connsiteY28" fmla="*/ 5791 h 10000"/>
                  <a:gd name="connsiteX29" fmla="*/ 2010 w 9947"/>
                  <a:gd name="connsiteY29" fmla="*/ 5791 h 10000"/>
                  <a:gd name="connsiteX30" fmla="*/ 2010 w 9947"/>
                  <a:gd name="connsiteY30" fmla="*/ 7043 h 10000"/>
                  <a:gd name="connsiteX31" fmla="*/ 969 w 9947"/>
                  <a:gd name="connsiteY31" fmla="*/ 7043 h 10000"/>
                  <a:gd name="connsiteX32" fmla="*/ 969 w 9947"/>
                  <a:gd name="connsiteY32" fmla="*/ 7818 h 10000"/>
                  <a:gd name="connsiteX33" fmla="*/ 1503 w 9947"/>
                  <a:gd name="connsiteY33" fmla="*/ 7838 h 10000"/>
                  <a:gd name="connsiteX34" fmla="*/ 2227 w 9947"/>
                  <a:gd name="connsiteY34" fmla="*/ 7315 h 10000"/>
                  <a:gd name="connsiteX35" fmla="*/ 2221 w 9947"/>
                  <a:gd name="connsiteY35" fmla="*/ 7818 h 10000"/>
                  <a:gd name="connsiteX36" fmla="*/ 2887 w 9947"/>
                  <a:gd name="connsiteY36" fmla="*/ 7368 h 10000"/>
                  <a:gd name="connsiteX37" fmla="*/ 2887 w 9947"/>
                  <a:gd name="connsiteY37" fmla="*/ 7818 h 10000"/>
                  <a:gd name="connsiteX38" fmla="*/ 3546 w 9947"/>
                  <a:gd name="connsiteY38" fmla="*/ 7361 h 10000"/>
                  <a:gd name="connsiteX39" fmla="*/ 3552 w 9947"/>
                  <a:gd name="connsiteY39" fmla="*/ 7811 h 10000"/>
                  <a:gd name="connsiteX40" fmla="*/ 4185 w 9947"/>
                  <a:gd name="connsiteY40" fmla="*/ 7328 h 10000"/>
                  <a:gd name="connsiteX41" fmla="*/ 4185 w 9947"/>
                  <a:gd name="connsiteY41" fmla="*/ 8613 h 10000"/>
                  <a:gd name="connsiteX42" fmla="*/ 4259 w 9947"/>
                  <a:gd name="connsiteY42" fmla="*/ 8520 h 10000"/>
                  <a:gd name="connsiteX43" fmla="*/ 4331 w 9947"/>
                  <a:gd name="connsiteY43" fmla="*/ 8434 h 10000"/>
                  <a:gd name="connsiteX44" fmla="*/ 4419 w 9947"/>
                  <a:gd name="connsiteY44" fmla="*/ 8361 h 10000"/>
                  <a:gd name="connsiteX45" fmla="*/ 4516 w 9947"/>
                  <a:gd name="connsiteY45" fmla="*/ 8295 h 10000"/>
                  <a:gd name="connsiteX46" fmla="*/ 4614 w 9947"/>
                  <a:gd name="connsiteY46" fmla="*/ 8249 h 10000"/>
                  <a:gd name="connsiteX47" fmla="*/ 4720 w 9947"/>
                  <a:gd name="connsiteY47" fmla="*/ 8215 h 10000"/>
                  <a:gd name="connsiteX48" fmla="*/ 4830 w 9947"/>
                  <a:gd name="connsiteY48" fmla="*/ 8189 h 10000"/>
                  <a:gd name="connsiteX49" fmla="*/ 4957 w 9947"/>
                  <a:gd name="connsiteY49" fmla="*/ 8182 h 10000"/>
                  <a:gd name="connsiteX50" fmla="*/ 5129 w 9947"/>
                  <a:gd name="connsiteY50" fmla="*/ 8195 h 10000"/>
                  <a:gd name="connsiteX51" fmla="*/ 5301 w 9947"/>
                  <a:gd name="connsiteY51" fmla="*/ 8242 h 10000"/>
                  <a:gd name="connsiteX52" fmla="*/ 5438 w 9947"/>
                  <a:gd name="connsiteY52" fmla="*/ 8321 h 10000"/>
                  <a:gd name="connsiteX53" fmla="*/ 5578 w 9947"/>
                  <a:gd name="connsiteY53" fmla="*/ 8421 h 10000"/>
                  <a:gd name="connsiteX54" fmla="*/ 5697 w 9947"/>
                  <a:gd name="connsiteY54" fmla="*/ 8540 h 10000"/>
                  <a:gd name="connsiteX55" fmla="*/ 5775 w 9947"/>
                  <a:gd name="connsiteY55" fmla="*/ 8686 h 10000"/>
                  <a:gd name="connsiteX56" fmla="*/ 5848 w 9947"/>
                  <a:gd name="connsiteY56" fmla="*/ 8838 h 10000"/>
                  <a:gd name="connsiteX57" fmla="*/ 5873 w 9947"/>
                  <a:gd name="connsiteY57" fmla="*/ 9004 h 10000"/>
                  <a:gd name="connsiteX58" fmla="*/ 5907 w 9947"/>
                  <a:gd name="connsiteY58" fmla="*/ 8997 h 10000"/>
                  <a:gd name="connsiteX59" fmla="*/ 5932 w 9947"/>
                  <a:gd name="connsiteY59" fmla="*/ 8997 h 10000"/>
                  <a:gd name="connsiteX60" fmla="*/ 5959 w 9947"/>
                  <a:gd name="connsiteY60" fmla="*/ 8991 h 10000"/>
                  <a:gd name="connsiteX61" fmla="*/ 5985 w 9947"/>
                  <a:gd name="connsiteY61" fmla="*/ 8991 h 10000"/>
                  <a:gd name="connsiteX62" fmla="*/ 6018 w 9947"/>
                  <a:gd name="connsiteY62" fmla="*/ 8984 h 10000"/>
                  <a:gd name="connsiteX63" fmla="*/ 6050 w 9947"/>
                  <a:gd name="connsiteY63" fmla="*/ 8984 h 10000"/>
                  <a:gd name="connsiteX64" fmla="*/ 6077 w 9947"/>
                  <a:gd name="connsiteY64" fmla="*/ 8984 h 10000"/>
                  <a:gd name="connsiteX65" fmla="*/ 6111 w 9947"/>
                  <a:gd name="connsiteY65" fmla="*/ 8984 h 10000"/>
                  <a:gd name="connsiteX66" fmla="*/ 6249 w 9947"/>
                  <a:gd name="connsiteY66" fmla="*/ 8991 h 10000"/>
                  <a:gd name="connsiteX67" fmla="*/ 6374 w 9947"/>
                  <a:gd name="connsiteY67" fmla="*/ 9024 h 10000"/>
                  <a:gd name="connsiteX68" fmla="*/ 6499 w 9947"/>
                  <a:gd name="connsiteY68" fmla="*/ 9070 h 10000"/>
                  <a:gd name="connsiteX69" fmla="*/ 6613 w 9947"/>
                  <a:gd name="connsiteY69" fmla="*/ 9137 h 10000"/>
                  <a:gd name="connsiteX70" fmla="*/ 6716 w 9947"/>
                  <a:gd name="connsiteY70" fmla="*/ 9216 h 10000"/>
                  <a:gd name="connsiteX71" fmla="*/ 6810 w 9947"/>
                  <a:gd name="connsiteY71" fmla="*/ 9302 h 10000"/>
                  <a:gd name="connsiteX72" fmla="*/ 6883 w 9947"/>
                  <a:gd name="connsiteY72" fmla="*/ 9415 h 10000"/>
                  <a:gd name="connsiteX73" fmla="*/ 6949 w 9947"/>
                  <a:gd name="connsiteY73" fmla="*/ 9527 h 10000"/>
                  <a:gd name="connsiteX74" fmla="*/ 3184 w 9947"/>
                  <a:gd name="connsiteY74" fmla="*/ 9527 h 10000"/>
                  <a:gd name="connsiteX75" fmla="*/ 3223 w 9947"/>
                  <a:gd name="connsiteY75" fmla="*/ 9441 h 10000"/>
                  <a:gd name="connsiteX76" fmla="*/ 3277 w 9947"/>
                  <a:gd name="connsiteY76" fmla="*/ 9355 h 10000"/>
                  <a:gd name="connsiteX77" fmla="*/ 3329 w 9947"/>
                  <a:gd name="connsiteY77" fmla="*/ 9289 h 10000"/>
                  <a:gd name="connsiteX78" fmla="*/ 3400 w 9947"/>
                  <a:gd name="connsiteY78" fmla="*/ 9223 h 10000"/>
                  <a:gd name="connsiteX79" fmla="*/ 3467 w 9947"/>
                  <a:gd name="connsiteY79" fmla="*/ 9170 h 10000"/>
                  <a:gd name="connsiteX80" fmla="*/ 3546 w 9947"/>
                  <a:gd name="connsiteY80" fmla="*/ 9117 h 10000"/>
                  <a:gd name="connsiteX81" fmla="*/ 3626 w 9947"/>
                  <a:gd name="connsiteY81" fmla="*/ 9077 h 10000"/>
                  <a:gd name="connsiteX82" fmla="*/ 3717 w 9947"/>
                  <a:gd name="connsiteY82" fmla="*/ 9044 h 10000"/>
                  <a:gd name="connsiteX83" fmla="*/ 3717 w 9947"/>
                  <a:gd name="connsiteY83" fmla="*/ 8195 h 10000"/>
                  <a:gd name="connsiteX84" fmla="*/ 608 w 9947"/>
                  <a:gd name="connsiteY84" fmla="*/ 8209 h 10000"/>
                  <a:gd name="connsiteX85" fmla="*/ 608 w 9947"/>
                  <a:gd name="connsiteY85" fmla="*/ 8838 h 10000"/>
                  <a:gd name="connsiteX86" fmla="*/ 548 w 9947"/>
                  <a:gd name="connsiteY86" fmla="*/ 8918 h 10000"/>
                  <a:gd name="connsiteX87" fmla="*/ 502 w 9947"/>
                  <a:gd name="connsiteY87" fmla="*/ 9004 h 10000"/>
                  <a:gd name="connsiteX88" fmla="*/ 469 w 9947"/>
                  <a:gd name="connsiteY88" fmla="*/ 9097 h 10000"/>
                  <a:gd name="connsiteX89" fmla="*/ 456 w 9947"/>
                  <a:gd name="connsiteY89" fmla="*/ 9203 h 10000"/>
                  <a:gd name="connsiteX90" fmla="*/ 429 w 9947"/>
                  <a:gd name="connsiteY90" fmla="*/ 9196 h 10000"/>
                  <a:gd name="connsiteX91" fmla="*/ 408 w 9947"/>
                  <a:gd name="connsiteY91" fmla="*/ 9196 h 10000"/>
                  <a:gd name="connsiteX92" fmla="*/ 382 w 9947"/>
                  <a:gd name="connsiteY92" fmla="*/ 9190 h 10000"/>
                  <a:gd name="connsiteX93" fmla="*/ 356 w 9947"/>
                  <a:gd name="connsiteY93" fmla="*/ 9190 h 10000"/>
                  <a:gd name="connsiteX94" fmla="*/ 271 w 9947"/>
                  <a:gd name="connsiteY94" fmla="*/ 9196 h 10000"/>
                  <a:gd name="connsiteX95" fmla="*/ 198 w 9947"/>
                  <a:gd name="connsiteY95" fmla="*/ 9216 h 10000"/>
                  <a:gd name="connsiteX96" fmla="*/ 126 w 9947"/>
                  <a:gd name="connsiteY96" fmla="*/ 9243 h 10000"/>
                  <a:gd name="connsiteX97" fmla="*/ 60 w 9947"/>
                  <a:gd name="connsiteY97" fmla="*/ 9282 h 10000"/>
                  <a:gd name="connsiteX98" fmla="*/ 1 w 9947"/>
                  <a:gd name="connsiteY98" fmla="*/ 9335 h 10000"/>
                  <a:gd name="connsiteX99" fmla="*/ 525 w 9947"/>
                  <a:gd name="connsiteY99" fmla="*/ 8678 h 10000"/>
                  <a:gd name="connsiteX100" fmla="*/ 132 w 9947"/>
                  <a:gd name="connsiteY100" fmla="*/ 7088 h 10000"/>
                  <a:gd name="connsiteX101" fmla="*/ 1020 w 9947"/>
                  <a:gd name="connsiteY101" fmla="*/ 8758 h 10000"/>
                  <a:gd name="connsiteX102" fmla="*/ 669 w 9947"/>
                  <a:gd name="connsiteY102" fmla="*/ 8945 h 10000"/>
                  <a:gd name="connsiteX103" fmla="*/ 1106 w 9947"/>
                  <a:gd name="connsiteY103" fmla="*/ 9002 h 10000"/>
                  <a:gd name="connsiteX104" fmla="*/ 1568 w 9947"/>
                  <a:gd name="connsiteY104" fmla="*/ 9426 h 10000"/>
                  <a:gd name="connsiteX105" fmla="*/ 8436 w 9947"/>
                  <a:gd name="connsiteY105" fmla="*/ 9998 h 10000"/>
                  <a:gd name="connsiteX106" fmla="*/ 9871 w 9947"/>
                  <a:gd name="connsiteY106" fmla="*/ 9527 h 10000"/>
                  <a:gd name="connsiteX107" fmla="*/ 9947 w 9947"/>
                  <a:gd name="connsiteY107" fmla="*/ 9527 h 10000"/>
                  <a:gd name="connsiteX0" fmla="*/ 9941 w 9941"/>
                  <a:gd name="connsiteY0" fmla="*/ 9527 h 10000"/>
                  <a:gd name="connsiteX1" fmla="*/ 9941 w 9941"/>
                  <a:gd name="connsiteY1" fmla="*/ 7381 h 10000"/>
                  <a:gd name="connsiteX2" fmla="*/ 9126 w 9941"/>
                  <a:gd name="connsiteY2" fmla="*/ 7381 h 10000"/>
                  <a:gd name="connsiteX3" fmla="*/ 9126 w 9941"/>
                  <a:gd name="connsiteY3" fmla="*/ 4128 h 10000"/>
                  <a:gd name="connsiteX4" fmla="*/ 7112 w 9941"/>
                  <a:gd name="connsiteY4" fmla="*/ 4128 h 10000"/>
                  <a:gd name="connsiteX5" fmla="*/ 7112 w 9941"/>
                  <a:gd name="connsiteY5" fmla="*/ 3816 h 10000"/>
                  <a:gd name="connsiteX6" fmla="*/ 8721 w 9941"/>
                  <a:gd name="connsiteY6" fmla="*/ 3816 h 10000"/>
                  <a:gd name="connsiteX7" fmla="*/ 8721 w 9941"/>
                  <a:gd name="connsiteY7" fmla="*/ 3498 h 10000"/>
                  <a:gd name="connsiteX8" fmla="*/ 7112 w 9941"/>
                  <a:gd name="connsiteY8" fmla="*/ 3498 h 10000"/>
                  <a:gd name="connsiteX9" fmla="*/ 7112 w 9941"/>
                  <a:gd name="connsiteY9" fmla="*/ 1365 h 10000"/>
                  <a:gd name="connsiteX10" fmla="*/ 4744 w 9941"/>
                  <a:gd name="connsiteY10" fmla="*/ 550 h 10000"/>
                  <a:gd name="connsiteX11" fmla="*/ 4744 w 9941"/>
                  <a:gd name="connsiteY11" fmla="*/ 5672 h 10000"/>
                  <a:gd name="connsiteX12" fmla="*/ 4369 w 9941"/>
                  <a:gd name="connsiteY12" fmla="*/ 5678 h 10000"/>
                  <a:gd name="connsiteX13" fmla="*/ 4369 w 9941"/>
                  <a:gd name="connsiteY13" fmla="*/ 1756 h 10000"/>
                  <a:gd name="connsiteX14" fmla="*/ 3573 w 9941"/>
                  <a:gd name="connsiteY14" fmla="*/ 2061 h 10000"/>
                  <a:gd name="connsiteX15" fmla="*/ 3142 w 9941"/>
                  <a:gd name="connsiteY15" fmla="*/ 2061 h 10000"/>
                  <a:gd name="connsiteX16" fmla="*/ 3142 w 9941"/>
                  <a:gd name="connsiteY16" fmla="*/ 0 h 10000"/>
                  <a:gd name="connsiteX17" fmla="*/ 2983 w 9941"/>
                  <a:gd name="connsiteY17" fmla="*/ 0 h 10000"/>
                  <a:gd name="connsiteX18" fmla="*/ 2983 w 9941"/>
                  <a:gd name="connsiteY18" fmla="*/ 2061 h 10000"/>
                  <a:gd name="connsiteX19" fmla="*/ 2618 w 9941"/>
                  <a:gd name="connsiteY19" fmla="*/ 2061 h 10000"/>
                  <a:gd name="connsiteX20" fmla="*/ 2618 w 9941"/>
                  <a:gd name="connsiteY20" fmla="*/ 2492 h 10000"/>
                  <a:gd name="connsiteX21" fmla="*/ 1962 w 9941"/>
                  <a:gd name="connsiteY21" fmla="*/ 2815 h 10000"/>
                  <a:gd name="connsiteX22" fmla="*/ 1962 w 9941"/>
                  <a:gd name="connsiteY22" fmla="*/ 4413 h 10000"/>
                  <a:gd name="connsiteX23" fmla="*/ 1611 w 9941"/>
                  <a:gd name="connsiteY23" fmla="*/ 4413 h 10000"/>
                  <a:gd name="connsiteX24" fmla="*/ 1611 w 9941"/>
                  <a:gd name="connsiteY24" fmla="*/ 4837 h 10000"/>
                  <a:gd name="connsiteX25" fmla="*/ 1962 w 9941"/>
                  <a:gd name="connsiteY25" fmla="*/ 4837 h 10000"/>
                  <a:gd name="connsiteX26" fmla="*/ 1962 w 9941"/>
                  <a:gd name="connsiteY26" fmla="*/ 5367 h 10000"/>
                  <a:gd name="connsiteX27" fmla="*/ 1611 w 9941"/>
                  <a:gd name="connsiteY27" fmla="*/ 5367 h 10000"/>
                  <a:gd name="connsiteX28" fmla="*/ 1611 w 9941"/>
                  <a:gd name="connsiteY28" fmla="*/ 5791 h 10000"/>
                  <a:gd name="connsiteX29" fmla="*/ 1962 w 9941"/>
                  <a:gd name="connsiteY29" fmla="*/ 5791 h 10000"/>
                  <a:gd name="connsiteX30" fmla="*/ 1962 w 9941"/>
                  <a:gd name="connsiteY30" fmla="*/ 7043 h 10000"/>
                  <a:gd name="connsiteX31" fmla="*/ 915 w 9941"/>
                  <a:gd name="connsiteY31" fmla="*/ 7043 h 10000"/>
                  <a:gd name="connsiteX32" fmla="*/ 915 w 9941"/>
                  <a:gd name="connsiteY32" fmla="*/ 7818 h 10000"/>
                  <a:gd name="connsiteX33" fmla="*/ 1452 w 9941"/>
                  <a:gd name="connsiteY33" fmla="*/ 7838 h 10000"/>
                  <a:gd name="connsiteX34" fmla="*/ 2180 w 9941"/>
                  <a:gd name="connsiteY34" fmla="*/ 7315 h 10000"/>
                  <a:gd name="connsiteX35" fmla="*/ 2174 w 9941"/>
                  <a:gd name="connsiteY35" fmla="*/ 7818 h 10000"/>
                  <a:gd name="connsiteX36" fmla="*/ 2843 w 9941"/>
                  <a:gd name="connsiteY36" fmla="*/ 7368 h 10000"/>
                  <a:gd name="connsiteX37" fmla="*/ 2843 w 9941"/>
                  <a:gd name="connsiteY37" fmla="*/ 7818 h 10000"/>
                  <a:gd name="connsiteX38" fmla="*/ 3506 w 9941"/>
                  <a:gd name="connsiteY38" fmla="*/ 7361 h 10000"/>
                  <a:gd name="connsiteX39" fmla="*/ 3512 w 9941"/>
                  <a:gd name="connsiteY39" fmla="*/ 7811 h 10000"/>
                  <a:gd name="connsiteX40" fmla="*/ 4148 w 9941"/>
                  <a:gd name="connsiteY40" fmla="*/ 7328 h 10000"/>
                  <a:gd name="connsiteX41" fmla="*/ 4148 w 9941"/>
                  <a:gd name="connsiteY41" fmla="*/ 8613 h 10000"/>
                  <a:gd name="connsiteX42" fmla="*/ 4223 w 9941"/>
                  <a:gd name="connsiteY42" fmla="*/ 8520 h 10000"/>
                  <a:gd name="connsiteX43" fmla="*/ 4295 w 9941"/>
                  <a:gd name="connsiteY43" fmla="*/ 8434 h 10000"/>
                  <a:gd name="connsiteX44" fmla="*/ 4384 w 9941"/>
                  <a:gd name="connsiteY44" fmla="*/ 8361 h 10000"/>
                  <a:gd name="connsiteX45" fmla="*/ 4481 w 9941"/>
                  <a:gd name="connsiteY45" fmla="*/ 8295 h 10000"/>
                  <a:gd name="connsiteX46" fmla="*/ 4580 w 9941"/>
                  <a:gd name="connsiteY46" fmla="*/ 8249 h 10000"/>
                  <a:gd name="connsiteX47" fmla="*/ 4686 w 9941"/>
                  <a:gd name="connsiteY47" fmla="*/ 8215 h 10000"/>
                  <a:gd name="connsiteX48" fmla="*/ 4797 w 9941"/>
                  <a:gd name="connsiteY48" fmla="*/ 8189 h 10000"/>
                  <a:gd name="connsiteX49" fmla="*/ 4924 w 9941"/>
                  <a:gd name="connsiteY49" fmla="*/ 8182 h 10000"/>
                  <a:gd name="connsiteX50" fmla="*/ 5097 w 9941"/>
                  <a:gd name="connsiteY50" fmla="*/ 8195 h 10000"/>
                  <a:gd name="connsiteX51" fmla="*/ 5270 w 9941"/>
                  <a:gd name="connsiteY51" fmla="*/ 8242 h 10000"/>
                  <a:gd name="connsiteX52" fmla="*/ 5408 w 9941"/>
                  <a:gd name="connsiteY52" fmla="*/ 8321 h 10000"/>
                  <a:gd name="connsiteX53" fmla="*/ 5549 w 9941"/>
                  <a:gd name="connsiteY53" fmla="*/ 8421 h 10000"/>
                  <a:gd name="connsiteX54" fmla="*/ 5668 w 9941"/>
                  <a:gd name="connsiteY54" fmla="*/ 8540 h 10000"/>
                  <a:gd name="connsiteX55" fmla="*/ 5747 w 9941"/>
                  <a:gd name="connsiteY55" fmla="*/ 8686 h 10000"/>
                  <a:gd name="connsiteX56" fmla="*/ 5820 w 9941"/>
                  <a:gd name="connsiteY56" fmla="*/ 8838 h 10000"/>
                  <a:gd name="connsiteX57" fmla="*/ 5845 w 9941"/>
                  <a:gd name="connsiteY57" fmla="*/ 9004 h 10000"/>
                  <a:gd name="connsiteX58" fmla="*/ 5879 w 9941"/>
                  <a:gd name="connsiteY58" fmla="*/ 8997 h 10000"/>
                  <a:gd name="connsiteX59" fmla="*/ 5905 w 9941"/>
                  <a:gd name="connsiteY59" fmla="*/ 8997 h 10000"/>
                  <a:gd name="connsiteX60" fmla="*/ 5932 w 9941"/>
                  <a:gd name="connsiteY60" fmla="*/ 8991 h 10000"/>
                  <a:gd name="connsiteX61" fmla="*/ 5958 w 9941"/>
                  <a:gd name="connsiteY61" fmla="*/ 8991 h 10000"/>
                  <a:gd name="connsiteX62" fmla="*/ 5991 w 9941"/>
                  <a:gd name="connsiteY62" fmla="*/ 8984 h 10000"/>
                  <a:gd name="connsiteX63" fmla="*/ 6023 w 9941"/>
                  <a:gd name="connsiteY63" fmla="*/ 8984 h 10000"/>
                  <a:gd name="connsiteX64" fmla="*/ 6050 w 9941"/>
                  <a:gd name="connsiteY64" fmla="*/ 8984 h 10000"/>
                  <a:gd name="connsiteX65" fmla="*/ 6085 w 9941"/>
                  <a:gd name="connsiteY65" fmla="*/ 8984 h 10000"/>
                  <a:gd name="connsiteX66" fmla="*/ 6223 w 9941"/>
                  <a:gd name="connsiteY66" fmla="*/ 8991 h 10000"/>
                  <a:gd name="connsiteX67" fmla="*/ 6349 w 9941"/>
                  <a:gd name="connsiteY67" fmla="*/ 9024 h 10000"/>
                  <a:gd name="connsiteX68" fmla="*/ 6475 w 9941"/>
                  <a:gd name="connsiteY68" fmla="*/ 9070 h 10000"/>
                  <a:gd name="connsiteX69" fmla="*/ 6589 w 9941"/>
                  <a:gd name="connsiteY69" fmla="*/ 9137 h 10000"/>
                  <a:gd name="connsiteX70" fmla="*/ 6693 w 9941"/>
                  <a:gd name="connsiteY70" fmla="*/ 9216 h 10000"/>
                  <a:gd name="connsiteX71" fmla="*/ 6787 w 9941"/>
                  <a:gd name="connsiteY71" fmla="*/ 9302 h 10000"/>
                  <a:gd name="connsiteX72" fmla="*/ 6861 w 9941"/>
                  <a:gd name="connsiteY72" fmla="*/ 9415 h 10000"/>
                  <a:gd name="connsiteX73" fmla="*/ 6927 w 9941"/>
                  <a:gd name="connsiteY73" fmla="*/ 9527 h 10000"/>
                  <a:gd name="connsiteX74" fmla="*/ 3142 w 9941"/>
                  <a:gd name="connsiteY74" fmla="*/ 9527 h 10000"/>
                  <a:gd name="connsiteX75" fmla="*/ 3181 w 9941"/>
                  <a:gd name="connsiteY75" fmla="*/ 9441 h 10000"/>
                  <a:gd name="connsiteX76" fmla="*/ 3235 w 9941"/>
                  <a:gd name="connsiteY76" fmla="*/ 9355 h 10000"/>
                  <a:gd name="connsiteX77" fmla="*/ 3288 w 9941"/>
                  <a:gd name="connsiteY77" fmla="*/ 9289 h 10000"/>
                  <a:gd name="connsiteX78" fmla="*/ 3359 w 9941"/>
                  <a:gd name="connsiteY78" fmla="*/ 9223 h 10000"/>
                  <a:gd name="connsiteX79" fmla="*/ 3426 w 9941"/>
                  <a:gd name="connsiteY79" fmla="*/ 9170 h 10000"/>
                  <a:gd name="connsiteX80" fmla="*/ 3506 w 9941"/>
                  <a:gd name="connsiteY80" fmla="*/ 9117 h 10000"/>
                  <a:gd name="connsiteX81" fmla="*/ 3586 w 9941"/>
                  <a:gd name="connsiteY81" fmla="*/ 9077 h 10000"/>
                  <a:gd name="connsiteX82" fmla="*/ 3678 w 9941"/>
                  <a:gd name="connsiteY82" fmla="*/ 9044 h 10000"/>
                  <a:gd name="connsiteX83" fmla="*/ 3678 w 9941"/>
                  <a:gd name="connsiteY83" fmla="*/ 8195 h 10000"/>
                  <a:gd name="connsiteX84" fmla="*/ 552 w 9941"/>
                  <a:gd name="connsiteY84" fmla="*/ 8209 h 10000"/>
                  <a:gd name="connsiteX85" fmla="*/ 552 w 9941"/>
                  <a:gd name="connsiteY85" fmla="*/ 8838 h 10000"/>
                  <a:gd name="connsiteX86" fmla="*/ 492 w 9941"/>
                  <a:gd name="connsiteY86" fmla="*/ 8918 h 10000"/>
                  <a:gd name="connsiteX87" fmla="*/ 446 w 9941"/>
                  <a:gd name="connsiteY87" fmla="*/ 9004 h 10000"/>
                  <a:gd name="connsiteX88" fmla="*/ 412 w 9941"/>
                  <a:gd name="connsiteY88" fmla="*/ 9097 h 10000"/>
                  <a:gd name="connsiteX89" fmla="*/ 399 w 9941"/>
                  <a:gd name="connsiteY89" fmla="*/ 9203 h 10000"/>
                  <a:gd name="connsiteX90" fmla="*/ 372 w 9941"/>
                  <a:gd name="connsiteY90" fmla="*/ 9196 h 10000"/>
                  <a:gd name="connsiteX91" fmla="*/ 351 w 9941"/>
                  <a:gd name="connsiteY91" fmla="*/ 9196 h 10000"/>
                  <a:gd name="connsiteX92" fmla="*/ 325 w 9941"/>
                  <a:gd name="connsiteY92" fmla="*/ 9190 h 10000"/>
                  <a:gd name="connsiteX93" fmla="*/ 299 w 9941"/>
                  <a:gd name="connsiteY93" fmla="*/ 9190 h 10000"/>
                  <a:gd name="connsiteX94" fmla="*/ 213 w 9941"/>
                  <a:gd name="connsiteY94" fmla="*/ 9196 h 10000"/>
                  <a:gd name="connsiteX95" fmla="*/ 140 w 9941"/>
                  <a:gd name="connsiteY95" fmla="*/ 9216 h 10000"/>
                  <a:gd name="connsiteX96" fmla="*/ 68 w 9941"/>
                  <a:gd name="connsiteY96" fmla="*/ 9243 h 10000"/>
                  <a:gd name="connsiteX97" fmla="*/ 1 w 9941"/>
                  <a:gd name="connsiteY97" fmla="*/ 9282 h 10000"/>
                  <a:gd name="connsiteX98" fmla="*/ 580 w 9941"/>
                  <a:gd name="connsiteY98" fmla="*/ 8684 h 10000"/>
                  <a:gd name="connsiteX99" fmla="*/ 469 w 9941"/>
                  <a:gd name="connsiteY99" fmla="*/ 8678 h 10000"/>
                  <a:gd name="connsiteX100" fmla="*/ 74 w 9941"/>
                  <a:gd name="connsiteY100" fmla="*/ 7088 h 10000"/>
                  <a:gd name="connsiteX101" fmla="*/ 966 w 9941"/>
                  <a:gd name="connsiteY101" fmla="*/ 8758 h 10000"/>
                  <a:gd name="connsiteX102" fmla="*/ 614 w 9941"/>
                  <a:gd name="connsiteY102" fmla="*/ 8945 h 10000"/>
                  <a:gd name="connsiteX103" fmla="*/ 1053 w 9941"/>
                  <a:gd name="connsiteY103" fmla="*/ 9002 h 10000"/>
                  <a:gd name="connsiteX104" fmla="*/ 1517 w 9941"/>
                  <a:gd name="connsiteY104" fmla="*/ 9426 h 10000"/>
                  <a:gd name="connsiteX105" fmla="*/ 8422 w 9941"/>
                  <a:gd name="connsiteY105" fmla="*/ 9998 h 10000"/>
                  <a:gd name="connsiteX106" fmla="*/ 9865 w 9941"/>
                  <a:gd name="connsiteY106" fmla="*/ 9527 h 10000"/>
                  <a:gd name="connsiteX107" fmla="*/ 9941 w 9941"/>
                  <a:gd name="connsiteY107" fmla="*/ 9527 h 10000"/>
                  <a:gd name="connsiteX0" fmla="*/ 9933 w 9933"/>
                  <a:gd name="connsiteY0" fmla="*/ 9527 h 10000"/>
                  <a:gd name="connsiteX1" fmla="*/ 9933 w 9933"/>
                  <a:gd name="connsiteY1" fmla="*/ 7381 h 10000"/>
                  <a:gd name="connsiteX2" fmla="*/ 9113 w 9933"/>
                  <a:gd name="connsiteY2" fmla="*/ 7381 h 10000"/>
                  <a:gd name="connsiteX3" fmla="*/ 9113 w 9933"/>
                  <a:gd name="connsiteY3" fmla="*/ 4128 h 10000"/>
                  <a:gd name="connsiteX4" fmla="*/ 7087 w 9933"/>
                  <a:gd name="connsiteY4" fmla="*/ 4128 h 10000"/>
                  <a:gd name="connsiteX5" fmla="*/ 7087 w 9933"/>
                  <a:gd name="connsiteY5" fmla="*/ 3816 h 10000"/>
                  <a:gd name="connsiteX6" fmla="*/ 8706 w 9933"/>
                  <a:gd name="connsiteY6" fmla="*/ 3816 h 10000"/>
                  <a:gd name="connsiteX7" fmla="*/ 8706 w 9933"/>
                  <a:gd name="connsiteY7" fmla="*/ 3498 h 10000"/>
                  <a:gd name="connsiteX8" fmla="*/ 7087 w 9933"/>
                  <a:gd name="connsiteY8" fmla="*/ 3498 h 10000"/>
                  <a:gd name="connsiteX9" fmla="*/ 7087 w 9933"/>
                  <a:gd name="connsiteY9" fmla="*/ 1365 h 10000"/>
                  <a:gd name="connsiteX10" fmla="*/ 4705 w 9933"/>
                  <a:gd name="connsiteY10" fmla="*/ 550 h 10000"/>
                  <a:gd name="connsiteX11" fmla="*/ 4705 w 9933"/>
                  <a:gd name="connsiteY11" fmla="*/ 5672 h 10000"/>
                  <a:gd name="connsiteX12" fmla="*/ 4328 w 9933"/>
                  <a:gd name="connsiteY12" fmla="*/ 5678 h 10000"/>
                  <a:gd name="connsiteX13" fmla="*/ 4328 w 9933"/>
                  <a:gd name="connsiteY13" fmla="*/ 1756 h 10000"/>
                  <a:gd name="connsiteX14" fmla="*/ 3527 w 9933"/>
                  <a:gd name="connsiteY14" fmla="*/ 2061 h 10000"/>
                  <a:gd name="connsiteX15" fmla="*/ 3094 w 9933"/>
                  <a:gd name="connsiteY15" fmla="*/ 2061 h 10000"/>
                  <a:gd name="connsiteX16" fmla="*/ 3094 w 9933"/>
                  <a:gd name="connsiteY16" fmla="*/ 0 h 10000"/>
                  <a:gd name="connsiteX17" fmla="*/ 2934 w 9933"/>
                  <a:gd name="connsiteY17" fmla="*/ 0 h 10000"/>
                  <a:gd name="connsiteX18" fmla="*/ 2934 w 9933"/>
                  <a:gd name="connsiteY18" fmla="*/ 2061 h 10000"/>
                  <a:gd name="connsiteX19" fmla="*/ 2567 w 9933"/>
                  <a:gd name="connsiteY19" fmla="*/ 2061 h 10000"/>
                  <a:gd name="connsiteX20" fmla="*/ 2567 w 9933"/>
                  <a:gd name="connsiteY20" fmla="*/ 2492 h 10000"/>
                  <a:gd name="connsiteX21" fmla="*/ 1907 w 9933"/>
                  <a:gd name="connsiteY21" fmla="*/ 2815 h 10000"/>
                  <a:gd name="connsiteX22" fmla="*/ 1907 w 9933"/>
                  <a:gd name="connsiteY22" fmla="*/ 4413 h 10000"/>
                  <a:gd name="connsiteX23" fmla="*/ 1554 w 9933"/>
                  <a:gd name="connsiteY23" fmla="*/ 4413 h 10000"/>
                  <a:gd name="connsiteX24" fmla="*/ 1554 w 9933"/>
                  <a:gd name="connsiteY24" fmla="*/ 4837 h 10000"/>
                  <a:gd name="connsiteX25" fmla="*/ 1907 w 9933"/>
                  <a:gd name="connsiteY25" fmla="*/ 4837 h 10000"/>
                  <a:gd name="connsiteX26" fmla="*/ 1907 w 9933"/>
                  <a:gd name="connsiteY26" fmla="*/ 5367 h 10000"/>
                  <a:gd name="connsiteX27" fmla="*/ 1554 w 9933"/>
                  <a:gd name="connsiteY27" fmla="*/ 5367 h 10000"/>
                  <a:gd name="connsiteX28" fmla="*/ 1554 w 9933"/>
                  <a:gd name="connsiteY28" fmla="*/ 5791 h 10000"/>
                  <a:gd name="connsiteX29" fmla="*/ 1907 w 9933"/>
                  <a:gd name="connsiteY29" fmla="*/ 5791 h 10000"/>
                  <a:gd name="connsiteX30" fmla="*/ 1907 w 9933"/>
                  <a:gd name="connsiteY30" fmla="*/ 7043 h 10000"/>
                  <a:gd name="connsiteX31" fmla="*/ 853 w 9933"/>
                  <a:gd name="connsiteY31" fmla="*/ 7043 h 10000"/>
                  <a:gd name="connsiteX32" fmla="*/ 853 w 9933"/>
                  <a:gd name="connsiteY32" fmla="*/ 7818 h 10000"/>
                  <a:gd name="connsiteX33" fmla="*/ 1394 w 9933"/>
                  <a:gd name="connsiteY33" fmla="*/ 7838 h 10000"/>
                  <a:gd name="connsiteX34" fmla="*/ 2126 w 9933"/>
                  <a:gd name="connsiteY34" fmla="*/ 7315 h 10000"/>
                  <a:gd name="connsiteX35" fmla="*/ 2120 w 9933"/>
                  <a:gd name="connsiteY35" fmla="*/ 7818 h 10000"/>
                  <a:gd name="connsiteX36" fmla="*/ 2793 w 9933"/>
                  <a:gd name="connsiteY36" fmla="*/ 7368 h 10000"/>
                  <a:gd name="connsiteX37" fmla="*/ 2793 w 9933"/>
                  <a:gd name="connsiteY37" fmla="*/ 7818 h 10000"/>
                  <a:gd name="connsiteX38" fmla="*/ 3460 w 9933"/>
                  <a:gd name="connsiteY38" fmla="*/ 7361 h 10000"/>
                  <a:gd name="connsiteX39" fmla="*/ 3466 w 9933"/>
                  <a:gd name="connsiteY39" fmla="*/ 7811 h 10000"/>
                  <a:gd name="connsiteX40" fmla="*/ 4106 w 9933"/>
                  <a:gd name="connsiteY40" fmla="*/ 7328 h 10000"/>
                  <a:gd name="connsiteX41" fmla="*/ 4106 w 9933"/>
                  <a:gd name="connsiteY41" fmla="*/ 8613 h 10000"/>
                  <a:gd name="connsiteX42" fmla="*/ 4181 w 9933"/>
                  <a:gd name="connsiteY42" fmla="*/ 8520 h 10000"/>
                  <a:gd name="connsiteX43" fmla="*/ 4253 w 9933"/>
                  <a:gd name="connsiteY43" fmla="*/ 8434 h 10000"/>
                  <a:gd name="connsiteX44" fmla="*/ 4343 w 9933"/>
                  <a:gd name="connsiteY44" fmla="*/ 8361 h 10000"/>
                  <a:gd name="connsiteX45" fmla="*/ 4441 w 9933"/>
                  <a:gd name="connsiteY45" fmla="*/ 8295 h 10000"/>
                  <a:gd name="connsiteX46" fmla="*/ 4540 w 9933"/>
                  <a:gd name="connsiteY46" fmla="*/ 8249 h 10000"/>
                  <a:gd name="connsiteX47" fmla="*/ 4647 w 9933"/>
                  <a:gd name="connsiteY47" fmla="*/ 8215 h 10000"/>
                  <a:gd name="connsiteX48" fmla="*/ 4758 w 9933"/>
                  <a:gd name="connsiteY48" fmla="*/ 8189 h 10000"/>
                  <a:gd name="connsiteX49" fmla="*/ 4886 w 9933"/>
                  <a:gd name="connsiteY49" fmla="*/ 8182 h 10000"/>
                  <a:gd name="connsiteX50" fmla="*/ 5060 w 9933"/>
                  <a:gd name="connsiteY50" fmla="*/ 8195 h 10000"/>
                  <a:gd name="connsiteX51" fmla="*/ 5234 w 9933"/>
                  <a:gd name="connsiteY51" fmla="*/ 8242 h 10000"/>
                  <a:gd name="connsiteX52" fmla="*/ 5373 w 9933"/>
                  <a:gd name="connsiteY52" fmla="*/ 8321 h 10000"/>
                  <a:gd name="connsiteX53" fmla="*/ 5515 w 9933"/>
                  <a:gd name="connsiteY53" fmla="*/ 8421 h 10000"/>
                  <a:gd name="connsiteX54" fmla="*/ 5635 w 9933"/>
                  <a:gd name="connsiteY54" fmla="*/ 8540 h 10000"/>
                  <a:gd name="connsiteX55" fmla="*/ 5714 w 9933"/>
                  <a:gd name="connsiteY55" fmla="*/ 8686 h 10000"/>
                  <a:gd name="connsiteX56" fmla="*/ 5788 w 9933"/>
                  <a:gd name="connsiteY56" fmla="*/ 8838 h 10000"/>
                  <a:gd name="connsiteX57" fmla="*/ 5813 w 9933"/>
                  <a:gd name="connsiteY57" fmla="*/ 9004 h 10000"/>
                  <a:gd name="connsiteX58" fmla="*/ 5847 w 9933"/>
                  <a:gd name="connsiteY58" fmla="*/ 8997 h 10000"/>
                  <a:gd name="connsiteX59" fmla="*/ 5873 w 9933"/>
                  <a:gd name="connsiteY59" fmla="*/ 8997 h 10000"/>
                  <a:gd name="connsiteX60" fmla="*/ 5900 w 9933"/>
                  <a:gd name="connsiteY60" fmla="*/ 8991 h 10000"/>
                  <a:gd name="connsiteX61" fmla="*/ 5926 w 9933"/>
                  <a:gd name="connsiteY61" fmla="*/ 8991 h 10000"/>
                  <a:gd name="connsiteX62" fmla="*/ 5960 w 9933"/>
                  <a:gd name="connsiteY62" fmla="*/ 8984 h 10000"/>
                  <a:gd name="connsiteX63" fmla="*/ 5992 w 9933"/>
                  <a:gd name="connsiteY63" fmla="*/ 8984 h 10000"/>
                  <a:gd name="connsiteX64" fmla="*/ 6019 w 9933"/>
                  <a:gd name="connsiteY64" fmla="*/ 8984 h 10000"/>
                  <a:gd name="connsiteX65" fmla="*/ 6054 w 9933"/>
                  <a:gd name="connsiteY65" fmla="*/ 8984 h 10000"/>
                  <a:gd name="connsiteX66" fmla="*/ 6193 w 9933"/>
                  <a:gd name="connsiteY66" fmla="*/ 8991 h 10000"/>
                  <a:gd name="connsiteX67" fmla="*/ 6320 w 9933"/>
                  <a:gd name="connsiteY67" fmla="*/ 9024 h 10000"/>
                  <a:gd name="connsiteX68" fmla="*/ 6446 w 9933"/>
                  <a:gd name="connsiteY68" fmla="*/ 9070 h 10000"/>
                  <a:gd name="connsiteX69" fmla="*/ 6561 w 9933"/>
                  <a:gd name="connsiteY69" fmla="*/ 9137 h 10000"/>
                  <a:gd name="connsiteX70" fmla="*/ 6666 w 9933"/>
                  <a:gd name="connsiteY70" fmla="*/ 9216 h 10000"/>
                  <a:gd name="connsiteX71" fmla="*/ 6760 w 9933"/>
                  <a:gd name="connsiteY71" fmla="*/ 9302 h 10000"/>
                  <a:gd name="connsiteX72" fmla="*/ 6835 w 9933"/>
                  <a:gd name="connsiteY72" fmla="*/ 9415 h 10000"/>
                  <a:gd name="connsiteX73" fmla="*/ 6901 w 9933"/>
                  <a:gd name="connsiteY73" fmla="*/ 9527 h 10000"/>
                  <a:gd name="connsiteX74" fmla="*/ 3094 w 9933"/>
                  <a:gd name="connsiteY74" fmla="*/ 9527 h 10000"/>
                  <a:gd name="connsiteX75" fmla="*/ 3133 w 9933"/>
                  <a:gd name="connsiteY75" fmla="*/ 9441 h 10000"/>
                  <a:gd name="connsiteX76" fmla="*/ 3187 w 9933"/>
                  <a:gd name="connsiteY76" fmla="*/ 9355 h 10000"/>
                  <a:gd name="connsiteX77" fmla="*/ 3241 w 9933"/>
                  <a:gd name="connsiteY77" fmla="*/ 9289 h 10000"/>
                  <a:gd name="connsiteX78" fmla="*/ 3312 w 9933"/>
                  <a:gd name="connsiteY78" fmla="*/ 9223 h 10000"/>
                  <a:gd name="connsiteX79" fmla="*/ 3379 w 9933"/>
                  <a:gd name="connsiteY79" fmla="*/ 9170 h 10000"/>
                  <a:gd name="connsiteX80" fmla="*/ 3460 w 9933"/>
                  <a:gd name="connsiteY80" fmla="*/ 9117 h 10000"/>
                  <a:gd name="connsiteX81" fmla="*/ 3540 w 9933"/>
                  <a:gd name="connsiteY81" fmla="*/ 9077 h 10000"/>
                  <a:gd name="connsiteX82" fmla="*/ 3633 w 9933"/>
                  <a:gd name="connsiteY82" fmla="*/ 9044 h 10000"/>
                  <a:gd name="connsiteX83" fmla="*/ 3633 w 9933"/>
                  <a:gd name="connsiteY83" fmla="*/ 8195 h 10000"/>
                  <a:gd name="connsiteX84" fmla="*/ 488 w 9933"/>
                  <a:gd name="connsiteY84" fmla="*/ 8209 h 10000"/>
                  <a:gd name="connsiteX85" fmla="*/ 488 w 9933"/>
                  <a:gd name="connsiteY85" fmla="*/ 8838 h 10000"/>
                  <a:gd name="connsiteX86" fmla="*/ 428 w 9933"/>
                  <a:gd name="connsiteY86" fmla="*/ 8918 h 10000"/>
                  <a:gd name="connsiteX87" fmla="*/ 382 w 9933"/>
                  <a:gd name="connsiteY87" fmla="*/ 9004 h 10000"/>
                  <a:gd name="connsiteX88" fmla="*/ 347 w 9933"/>
                  <a:gd name="connsiteY88" fmla="*/ 9097 h 10000"/>
                  <a:gd name="connsiteX89" fmla="*/ 334 w 9933"/>
                  <a:gd name="connsiteY89" fmla="*/ 9203 h 10000"/>
                  <a:gd name="connsiteX90" fmla="*/ 307 w 9933"/>
                  <a:gd name="connsiteY90" fmla="*/ 9196 h 10000"/>
                  <a:gd name="connsiteX91" fmla="*/ 286 w 9933"/>
                  <a:gd name="connsiteY91" fmla="*/ 9196 h 10000"/>
                  <a:gd name="connsiteX92" fmla="*/ 260 w 9933"/>
                  <a:gd name="connsiteY92" fmla="*/ 9190 h 10000"/>
                  <a:gd name="connsiteX93" fmla="*/ 234 w 9933"/>
                  <a:gd name="connsiteY93" fmla="*/ 9190 h 10000"/>
                  <a:gd name="connsiteX94" fmla="*/ 147 w 9933"/>
                  <a:gd name="connsiteY94" fmla="*/ 9196 h 10000"/>
                  <a:gd name="connsiteX95" fmla="*/ 74 w 9933"/>
                  <a:gd name="connsiteY95" fmla="*/ 9216 h 10000"/>
                  <a:gd name="connsiteX96" fmla="*/ 1 w 9933"/>
                  <a:gd name="connsiteY96" fmla="*/ 9243 h 10000"/>
                  <a:gd name="connsiteX97" fmla="*/ 1102 w 9933"/>
                  <a:gd name="connsiteY97" fmla="*/ 9282 h 10000"/>
                  <a:gd name="connsiteX98" fmla="*/ 516 w 9933"/>
                  <a:gd name="connsiteY98" fmla="*/ 8684 h 10000"/>
                  <a:gd name="connsiteX99" fmla="*/ 405 w 9933"/>
                  <a:gd name="connsiteY99" fmla="*/ 8678 h 10000"/>
                  <a:gd name="connsiteX100" fmla="*/ 7 w 9933"/>
                  <a:gd name="connsiteY100" fmla="*/ 7088 h 10000"/>
                  <a:gd name="connsiteX101" fmla="*/ 905 w 9933"/>
                  <a:gd name="connsiteY101" fmla="*/ 8758 h 10000"/>
                  <a:gd name="connsiteX102" fmla="*/ 551 w 9933"/>
                  <a:gd name="connsiteY102" fmla="*/ 8945 h 10000"/>
                  <a:gd name="connsiteX103" fmla="*/ 992 w 9933"/>
                  <a:gd name="connsiteY103" fmla="*/ 9002 h 10000"/>
                  <a:gd name="connsiteX104" fmla="*/ 1459 w 9933"/>
                  <a:gd name="connsiteY104" fmla="*/ 9426 h 10000"/>
                  <a:gd name="connsiteX105" fmla="*/ 8405 w 9933"/>
                  <a:gd name="connsiteY105" fmla="*/ 9998 h 10000"/>
                  <a:gd name="connsiteX106" fmla="*/ 9857 w 9933"/>
                  <a:gd name="connsiteY106" fmla="*/ 9527 h 10000"/>
                  <a:gd name="connsiteX107" fmla="*/ 9933 w 9933"/>
                  <a:gd name="connsiteY107" fmla="*/ 9527 h 10000"/>
                  <a:gd name="connsiteX0" fmla="*/ 9993 w 9993"/>
                  <a:gd name="connsiteY0" fmla="*/ 9527 h 10000"/>
                  <a:gd name="connsiteX1" fmla="*/ 9993 w 9993"/>
                  <a:gd name="connsiteY1" fmla="*/ 7381 h 10000"/>
                  <a:gd name="connsiteX2" fmla="*/ 9167 w 9993"/>
                  <a:gd name="connsiteY2" fmla="*/ 7381 h 10000"/>
                  <a:gd name="connsiteX3" fmla="*/ 9167 w 9993"/>
                  <a:gd name="connsiteY3" fmla="*/ 4128 h 10000"/>
                  <a:gd name="connsiteX4" fmla="*/ 7128 w 9993"/>
                  <a:gd name="connsiteY4" fmla="*/ 4128 h 10000"/>
                  <a:gd name="connsiteX5" fmla="*/ 7128 w 9993"/>
                  <a:gd name="connsiteY5" fmla="*/ 3816 h 10000"/>
                  <a:gd name="connsiteX6" fmla="*/ 8758 w 9993"/>
                  <a:gd name="connsiteY6" fmla="*/ 3816 h 10000"/>
                  <a:gd name="connsiteX7" fmla="*/ 8758 w 9993"/>
                  <a:gd name="connsiteY7" fmla="*/ 3498 h 10000"/>
                  <a:gd name="connsiteX8" fmla="*/ 7128 w 9993"/>
                  <a:gd name="connsiteY8" fmla="*/ 3498 h 10000"/>
                  <a:gd name="connsiteX9" fmla="*/ 7128 w 9993"/>
                  <a:gd name="connsiteY9" fmla="*/ 1365 h 10000"/>
                  <a:gd name="connsiteX10" fmla="*/ 4730 w 9993"/>
                  <a:gd name="connsiteY10" fmla="*/ 550 h 10000"/>
                  <a:gd name="connsiteX11" fmla="*/ 4730 w 9993"/>
                  <a:gd name="connsiteY11" fmla="*/ 5672 h 10000"/>
                  <a:gd name="connsiteX12" fmla="*/ 4350 w 9993"/>
                  <a:gd name="connsiteY12" fmla="*/ 5678 h 10000"/>
                  <a:gd name="connsiteX13" fmla="*/ 4350 w 9993"/>
                  <a:gd name="connsiteY13" fmla="*/ 1756 h 10000"/>
                  <a:gd name="connsiteX14" fmla="*/ 3544 w 9993"/>
                  <a:gd name="connsiteY14" fmla="*/ 2061 h 10000"/>
                  <a:gd name="connsiteX15" fmla="*/ 3108 w 9993"/>
                  <a:gd name="connsiteY15" fmla="*/ 2061 h 10000"/>
                  <a:gd name="connsiteX16" fmla="*/ 3108 w 9993"/>
                  <a:gd name="connsiteY16" fmla="*/ 0 h 10000"/>
                  <a:gd name="connsiteX17" fmla="*/ 2947 w 9993"/>
                  <a:gd name="connsiteY17" fmla="*/ 0 h 10000"/>
                  <a:gd name="connsiteX18" fmla="*/ 2947 w 9993"/>
                  <a:gd name="connsiteY18" fmla="*/ 2061 h 10000"/>
                  <a:gd name="connsiteX19" fmla="*/ 2577 w 9993"/>
                  <a:gd name="connsiteY19" fmla="*/ 2061 h 10000"/>
                  <a:gd name="connsiteX20" fmla="*/ 2577 w 9993"/>
                  <a:gd name="connsiteY20" fmla="*/ 2492 h 10000"/>
                  <a:gd name="connsiteX21" fmla="*/ 1913 w 9993"/>
                  <a:gd name="connsiteY21" fmla="*/ 2815 h 10000"/>
                  <a:gd name="connsiteX22" fmla="*/ 1913 w 9993"/>
                  <a:gd name="connsiteY22" fmla="*/ 4413 h 10000"/>
                  <a:gd name="connsiteX23" fmla="*/ 1557 w 9993"/>
                  <a:gd name="connsiteY23" fmla="*/ 4413 h 10000"/>
                  <a:gd name="connsiteX24" fmla="*/ 1557 w 9993"/>
                  <a:gd name="connsiteY24" fmla="*/ 4837 h 10000"/>
                  <a:gd name="connsiteX25" fmla="*/ 1913 w 9993"/>
                  <a:gd name="connsiteY25" fmla="*/ 4837 h 10000"/>
                  <a:gd name="connsiteX26" fmla="*/ 1913 w 9993"/>
                  <a:gd name="connsiteY26" fmla="*/ 5367 h 10000"/>
                  <a:gd name="connsiteX27" fmla="*/ 1557 w 9993"/>
                  <a:gd name="connsiteY27" fmla="*/ 5367 h 10000"/>
                  <a:gd name="connsiteX28" fmla="*/ 1557 w 9993"/>
                  <a:gd name="connsiteY28" fmla="*/ 5791 h 10000"/>
                  <a:gd name="connsiteX29" fmla="*/ 1913 w 9993"/>
                  <a:gd name="connsiteY29" fmla="*/ 5791 h 10000"/>
                  <a:gd name="connsiteX30" fmla="*/ 1913 w 9993"/>
                  <a:gd name="connsiteY30" fmla="*/ 7043 h 10000"/>
                  <a:gd name="connsiteX31" fmla="*/ 852 w 9993"/>
                  <a:gd name="connsiteY31" fmla="*/ 7043 h 10000"/>
                  <a:gd name="connsiteX32" fmla="*/ 852 w 9993"/>
                  <a:gd name="connsiteY32" fmla="*/ 7818 h 10000"/>
                  <a:gd name="connsiteX33" fmla="*/ 1396 w 9993"/>
                  <a:gd name="connsiteY33" fmla="*/ 7838 h 10000"/>
                  <a:gd name="connsiteX34" fmla="*/ 2133 w 9993"/>
                  <a:gd name="connsiteY34" fmla="*/ 7315 h 10000"/>
                  <a:gd name="connsiteX35" fmla="*/ 2127 w 9993"/>
                  <a:gd name="connsiteY35" fmla="*/ 7818 h 10000"/>
                  <a:gd name="connsiteX36" fmla="*/ 2805 w 9993"/>
                  <a:gd name="connsiteY36" fmla="*/ 7368 h 10000"/>
                  <a:gd name="connsiteX37" fmla="*/ 2805 w 9993"/>
                  <a:gd name="connsiteY37" fmla="*/ 7818 h 10000"/>
                  <a:gd name="connsiteX38" fmla="*/ 3476 w 9993"/>
                  <a:gd name="connsiteY38" fmla="*/ 7361 h 10000"/>
                  <a:gd name="connsiteX39" fmla="*/ 3482 w 9993"/>
                  <a:gd name="connsiteY39" fmla="*/ 7811 h 10000"/>
                  <a:gd name="connsiteX40" fmla="*/ 4127 w 9993"/>
                  <a:gd name="connsiteY40" fmla="*/ 7328 h 10000"/>
                  <a:gd name="connsiteX41" fmla="*/ 4127 w 9993"/>
                  <a:gd name="connsiteY41" fmla="*/ 8613 h 10000"/>
                  <a:gd name="connsiteX42" fmla="*/ 4202 w 9993"/>
                  <a:gd name="connsiteY42" fmla="*/ 8520 h 10000"/>
                  <a:gd name="connsiteX43" fmla="*/ 4275 w 9993"/>
                  <a:gd name="connsiteY43" fmla="*/ 8434 h 10000"/>
                  <a:gd name="connsiteX44" fmla="*/ 4365 w 9993"/>
                  <a:gd name="connsiteY44" fmla="*/ 8361 h 10000"/>
                  <a:gd name="connsiteX45" fmla="*/ 4464 w 9993"/>
                  <a:gd name="connsiteY45" fmla="*/ 8295 h 10000"/>
                  <a:gd name="connsiteX46" fmla="*/ 4564 w 9993"/>
                  <a:gd name="connsiteY46" fmla="*/ 8249 h 10000"/>
                  <a:gd name="connsiteX47" fmla="*/ 4671 w 9993"/>
                  <a:gd name="connsiteY47" fmla="*/ 8215 h 10000"/>
                  <a:gd name="connsiteX48" fmla="*/ 4783 w 9993"/>
                  <a:gd name="connsiteY48" fmla="*/ 8189 h 10000"/>
                  <a:gd name="connsiteX49" fmla="*/ 4912 w 9993"/>
                  <a:gd name="connsiteY49" fmla="*/ 8182 h 10000"/>
                  <a:gd name="connsiteX50" fmla="*/ 5087 w 9993"/>
                  <a:gd name="connsiteY50" fmla="*/ 8195 h 10000"/>
                  <a:gd name="connsiteX51" fmla="*/ 5262 w 9993"/>
                  <a:gd name="connsiteY51" fmla="*/ 8242 h 10000"/>
                  <a:gd name="connsiteX52" fmla="*/ 5402 w 9993"/>
                  <a:gd name="connsiteY52" fmla="*/ 8321 h 10000"/>
                  <a:gd name="connsiteX53" fmla="*/ 5545 w 9993"/>
                  <a:gd name="connsiteY53" fmla="*/ 8421 h 10000"/>
                  <a:gd name="connsiteX54" fmla="*/ 5666 w 9993"/>
                  <a:gd name="connsiteY54" fmla="*/ 8540 h 10000"/>
                  <a:gd name="connsiteX55" fmla="*/ 5746 w 9993"/>
                  <a:gd name="connsiteY55" fmla="*/ 8686 h 10000"/>
                  <a:gd name="connsiteX56" fmla="*/ 5820 w 9993"/>
                  <a:gd name="connsiteY56" fmla="*/ 8838 h 10000"/>
                  <a:gd name="connsiteX57" fmla="*/ 5845 w 9993"/>
                  <a:gd name="connsiteY57" fmla="*/ 9004 h 10000"/>
                  <a:gd name="connsiteX58" fmla="*/ 5879 w 9993"/>
                  <a:gd name="connsiteY58" fmla="*/ 8997 h 10000"/>
                  <a:gd name="connsiteX59" fmla="*/ 5906 w 9993"/>
                  <a:gd name="connsiteY59" fmla="*/ 8997 h 10000"/>
                  <a:gd name="connsiteX60" fmla="*/ 5933 w 9993"/>
                  <a:gd name="connsiteY60" fmla="*/ 8991 h 10000"/>
                  <a:gd name="connsiteX61" fmla="*/ 5959 w 9993"/>
                  <a:gd name="connsiteY61" fmla="*/ 8991 h 10000"/>
                  <a:gd name="connsiteX62" fmla="*/ 5993 w 9993"/>
                  <a:gd name="connsiteY62" fmla="*/ 8984 h 10000"/>
                  <a:gd name="connsiteX63" fmla="*/ 6025 w 9993"/>
                  <a:gd name="connsiteY63" fmla="*/ 8984 h 10000"/>
                  <a:gd name="connsiteX64" fmla="*/ 6053 w 9993"/>
                  <a:gd name="connsiteY64" fmla="*/ 8984 h 10000"/>
                  <a:gd name="connsiteX65" fmla="*/ 6088 w 9993"/>
                  <a:gd name="connsiteY65" fmla="*/ 8984 h 10000"/>
                  <a:gd name="connsiteX66" fmla="*/ 6228 w 9993"/>
                  <a:gd name="connsiteY66" fmla="*/ 8991 h 10000"/>
                  <a:gd name="connsiteX67" fmla="*/ 6356 w 9993"/>
                  <a:gd name="connsiteY67" fmla="*/ 9024 h 10000"/>
                  <a:gd name="connsiteX68" fmla="*/ 6482 w 9993"/>
                  <a:gd name="connsiteY68" fmla="*/ 9070 h 10000"/>
                  <a:gd name="connsiteX69" fmla="*/ 6598 w 9993"/>
                  <a:gd name="connsiteY69" fmla="*/ 9137 h 10000"/>
                  <a:gd name="connsiteX70" fmla="*/ 6704 w 9993"/>
                  <a:gd name="connsiteY70" fmla="*/ 9216 h 10000"/>
                  <a:gd name="connsiteX71" fmla="*/ 6799 w 9993"/>
                  <a:gd name="connsiteY71" fmla="*/ 9302 h 10000"/>
                  <a:gd name="connsiteX72" fmla="*/ 6874 w 9993"/>
                  <a:gd name="connsiteY72" fmla="*/ 9415 h 10000"/>
                  <a:gd name="connsiteX73" fmla="*/ 6941 w 9993"/>
                  <a:gd name="connsiteY73" fmla="*/ 9527 h 10000"/>
                  <a:gd name="connsiteX74" fmla="*/ 3108 w 9993"/>
                  <a:gd name="connsiteY74" fmla="*/ 9527 h 10000"/>
                  <a:gd name="connsiteX75" fmla="*/ 3147 w 9993"/>
                  <a:gd name="connsiteY75" fmla="*/ 9441 h 10000"/>
                  <a:gd name="connsiteX76" fmla="*/ 3201 w 9993"/>
                  <a:gd name="connsiteY76" fmla="*/ 9355 h 10000"/>
                  <a:gd name="connsiteX77" fmla="*/ 3256 w 9993"/>
                  <a:gd name="connsiteY77" fmla="*/ 9289 h 10000"/>
                  <a:gd name="connsiteX78" fmla="*/ 3327 w 9993"/>
                  <a:gd name="connsiteY78" fmla="*/ 9223 h 10000"/>
                  <a:gd name="connsiteX79" fmla="*/ 3395 w 9993"/>
                  <a:gd name="connsiteY79" fmla="*/ 9170 h 10000"/>
                  <a:gd name="connsiteX80" fmla="*/ 3476 w 9993"/>
                  <a:gd name="connsiteY80" fmla="*/ 9117 h 10000"/>
                  <a:gd name="connsiteX81" fmla="*/ 3557 w 9993"/>
                  <a:gd name="connsiteY81" fmla="*/ 9077 h 10000"/>
                  <a:gd name="connsiteX82" fmla="*/ 3651 w 9993"/>
                  <a:gd name="connsiteY82" fmla="*/ 9044 h 10000"/>
                  <a:gd name="connsiteX83" fmla="*/ 3651 w 9993"/>
                  <a:gd name="connsiteY83" fmla="*/ 8195 h 10000"/>
                  <a:gd name="connsiteX84" fmla="*/ 484 w 9993"/>
                  <a:gd name="connsiteY84" fmla="*/ 8209 h 10000"/>
                  <a:gd name="connsiteX85" fmla="*/ 484 w 9993"/>
                  <a:gd name="connsiteY85" fmla="*/ 8838 h 10000"/>
                  <a:gd name="connsiteX86" fmla="*/ 424 w 9993"/>
                  <a:gd name="connsiteY86" fmla="*/ 8918 h 10000"/>
                  <a:gd name="connsiteX87" fmla="*/ 378 w 9993"/>
                  <a:gd name="connsiteY87" fmla="*/ 9004 h 10000"/>
                  <a:gd name="connsiteX88" fmla="*/ 342 w 9993"/>
                  <a:gd name="connsiteY88" fmla="*/ 9097 h 10000"/>
                  <a:gd name="connsiteX89" fmla="*/ 329 w 9993"/>
                  <a:gd name="connsiteY89" fmla="*/ 9203 h 10000"/>
                  <a:gd name="connsiteX90" fmla="*/ 302 w 9993"/>
                  <a:gd name="connsiteY90" fmla="*/ 9196 h 10000"/>
                  <a:gd name="connsiteX91" fmla="*/ 281 w 9993"/>
                  <a:gd name="connsiteY91" fmla="*/ 9196 h 10000"/>
                  <a:gd name="connsiteX92" fmla="*/ 255 w 9993"/>
                  <a:gd name="connsiteY92" fmla="*/ 9190 h 10000"/>
                  <a:gd name="connsiteX93" fmla="*/ 229 w 9993"/>
                  <a:gd name="connsiteY93" fmla="*/ 9190 h 10000"/>
                  <a:gd name="connsiteX94" fmla="*/ 141 w 9993"/>
                  <a:gd name="connsiteY94" fmla="*/ 9196 h 10000"/>
                  <a:gd name="connsiteX95" fmla="*/ 67 w 9993"/>
                  <a:gd name="connsiteY95" fmla="*/ 9216 h 10000"/>
                  <a:gd name="connsiteX96" fmla="*/ 1346 w 9993"/>
                  <a:gd name="connsiteY96" fmla="*/ 9184 h 10000"/>
                  <a:gd name="connsiteX97" fmla="*/ 1102 w 9993"/>
                  <a:gd name="connsiteY97" fmla="*/ 9282 h 10000"/>
                  <a:gd name="connsiteX98" fmla="*/ 512 w 9993"/>
                  <a:gd name="connsiteY98" fmla="*/ 8684 h 10000"/>
                  <a:gd name="connsiteX99" fmla="*/ 401 w 9993"/>
                  <a:gd name="connsiteY99" fmla="*/ 8678 h 10000"/>
                  <a:gd name="connsiteX100" fmla="*/ 0 w 9993"/>
                  <a:gd name="connsiteY100" fmla="*/ 7088 h 10000"/>
                  <a:gd name="connsiteX101" fmla="*/ 904 w 9993"/>
                  <a:gd name="connsiteY101" fmla="*/ 8758 h 10000"/>
                  <a:gd name="connsiteX102" fmla="*/ 548 w 9993"/>
                  <a:gd name="connsiteY102" fmla="*/ 8945 h 10000"/>
                  <a:gd name="connsiteX103" fmla="*/ 992 w 9993"/>
                  <a:gd name="connsiteY103" fmla="*/ 9002 h 10000"/>
                  <a:gd name="connsiteX104" fmla="*/ 1462 w 9993"/>
                  <a:gd name="connsiteY104" fmla="*/ 9426 h 10000"/>
                  <a:gd name="connsiteX105" fmla="*/ 8455 w 9993"/>
                  <a:gd name="connsiteY105" fmla="*/ 9998 h 10000"/>
                  <a:gd name="connsiteX106" fmla="*/ 9916 w 9993"/>
                  <a:gd name="connsiteY106" fmla="*/ 9527 h 10000"/>
                  <a:gd name="connsiteX107" fmla="*/ 9993 w 9993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141 w 10000"/>
                  <a:gd name="connsiteY94" fmla="*/ 919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229 w 10000"/>
                  <a:gd name="connsiteY93" fmla="*/ 9190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255 w 10000"/>
                  <a:gd name="connsiteY92" fmla="*/ 9190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10000 w 10000"/>
                  <a:gd name="connsiteY0" fmla="*/ 9527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10000 w 10000"/>
                  <a:gd name="connsiteY107" fmla="*/ 9527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9923 w 10000"/>
                  <a:gd name="connsiteY106" fmla="*/ 9527 h 10000"/>
                  <a:gd name="connsiteX107" fmla="*/ 9118 w 10000"/>
                  <a:gd name="connsiteY107" fmla="*/ 8935 h 10000"/>
                  <a:gd name="connsiteX0" fmla="*/ 9118 w 10000"/>
                  <a:gd name="connsiteY0" fmla="*/ 8935 h 10000"/>
                  <a:gd name="connsiteX1" fmla="*/ 10000 w 10000"/>
                  <a:gd name="connsiteY1" fmla="*/ 7381 h 10000"/>
                  <a:gd name="connsiteX2" fmla="*/ 9173 w 10000"/>
                  <a:gd name="connsiteY2" fmla="*/ 7381 h 10000"/>
                  <a:gd name="connsiteX3" fmla="*/ 9173 w 10000"/>
                  <a:gd name="connsiteY3" fmla="*/ 4128 h 10000"/>
                  <a:gd name="connsiteX4" fmla="*/ 7133 w 10000"/>
                  <a:gd name="connsiteY4" fmla="*/ 4128 h 10000"/>
                  <a:gd name="connsiteX5" fmla="*/ 7133 w 10000"/>
                  <a:gd name="connsiteY5" fmla="*/ 3816 h 10000"/>
                  <a:gd name="connsiteX6" fmla="*/ 8764 w 10000"/>
                  <a:gd name="connsiteY6" fmla="*/ 3816 h 10000"/>
                  <a:gd name="connsiteX7" fmla="*/ 8764 w 10000"/>
                  <a:gd name="connsiteY7" fmla="*/ 3498 h 10000"/>
                  <a:gd name="connsiteX8" fmla="*/ 7133 w 10000"/>
                  <a:gd name="connsiteY8" fmla="*/ 3498 h 10000"/>
                  <a:gd name="connsiteX9" fmla="*/ 7133 w 10000"/>
                  <a:gd name="connsiteY9" fmla="*/ 1365 h 10000"/>
                  <a:gd name="connsiteX10" fmla="*/ 4733 w 10000"/>
                  <a:gd name="connsiteY10" fmla="*/ 550 h 10000"/>
                  <a:gd name="connsiteX11" fmla="*/ 4733 w 10000"/>
                  <a:gd name="connsiteY11" fmla="*/ 5672 h 10000"/>
                  <a:gd name="connsiteX12" fmla="*/ 4353 w 10000"/>
                  <a:gd name="connsiteY12" fmla="*/ 5678 h 10000"/>
                  <a:gd name="connsiteX13" fmla="*/ 4353 w 10000"/>
                  <a:gd name="connsiteY13" fmla="*/ 1756 h 10000"/>
                  <a:gd name="connsiteX14" fmla="*/ 3546 w 10000"/>
                  <a:gd name="connsiteY14" fmla="*/ 2061 h 10000"/>
                  <a:gd name="connsiteX15" fmla="*/ 3110 w 10000"/>
                  <a:gd name="connsiteY15" fmla="*/ 2061 h 10000"/>
                  <a:gd name="connsiteX16" fmla="*/ 3110 w 10000"/>
                  <a:gd name="connsiteY16" fmla="*/ 0 h 10000"/>
                  <a:gd name="connsiteX17" fmla="*/ 2949 w 10000"/>
                  <a:gd name="connsiteY17" fmla="*/ 0 h 10000"/>
                  <a:gd name="connsiteX18" fmla="*/ 2949 w 10000"/>
                  <a:gd name="connsiteY18" fmla="*/ 2061 h 10000"/>
                  <a:gd name="connsiteX19" fmla="*/ 2579 w 10000"/>
                  <a:gd name="connsiteY19" fmla="*/ 2061 h 10000"/>
                  <a:gd name="connsiteX20" fmla="*/ 2579 w 10000"/>
                  <a:gd name="connsiteY20" fmla="*/ 2492 h 10000"/>
                  <a:gd name="connsiteX21" fmla="*/ 1914 w 10000"/>
                  <a:gd name="connsiteY21" fmla="*/ 2815 h 10000"/>
                  <a:gd name="connsiteX22" fmla="*/ 1914 w 10000"/>
                  <a:gd name="connsiteY22" fmla="*/ 4413 h 10000"/>
                  <a:gd name="connsiteX23" fmla="*/ 1558 w 10000"/>
                  <a:gd name="connsiteY23" fmla="*/ 4413 h 10000"/>
                  <a:gd name="connsiteX24" fmla="*/ 1558 w 10000"/>
                  <a:gd name="connsiteY24" fmla="*/ 4837 h 10000"/>
                  <a:gd name="connsiteX25" fmla="*/ 1914 w 10000"/>
                  <a:gd name="connsiteY25" fmla="*/ 4837 h 10000"/>
                  <a:gd name="connsiteX26" fmla="*/ 1914 w 10000"/>
                  <a:gd name="connsiteY26" fmla="*/ 5367 h 10000"/>
                  <a:gd name="connsiteX27" fmla="*/ 1558 w 10000"/>
                  <a:gd name="connsiteY27" fmla="*/ 5367 h 10000"/>
                  <a:gd name="connsiteX28" fmla="*/ 1558 w 10000"/>
                  <a:gd name="connsiteY28" fmla="*/ 5791 h 10000"/>
                  <a:gd name="connsiteX29" fmla="*/ 1914 w 10000"/>
                  <a:gd name="connsiteY29" fmla="*/ 5791 h 10000"/>
                  <a:gd name="connsiteX30" fmla="*/ 1914 w 10000"/>
                  <a:gd name="connsiteY30" fmla="*/ 7043 h 10000"/>
                  <a:gd name="connsiteX31" fmla="*/ 853 w 10000"/>
                  <a:gd name="connsiteY31" fmla="*/ 7043 h 10000"/>
                  <a:gd name="connsiteX32" fmla="*/ 853 w 10000"/>
                  <a:gd name="connsiteY32" fmla="*/ 7818 h 10000"/>
                  <a:gd name="connsiteX33" fmla="*/ 1397 w 10000"/>
                  <a:gd name="connsiteY33" fmla="*/ 7838 h 10000"/>
                  <a:gd name="connsiteX34" fmla="*/ 2134 w 10000"/>
                  <a:gd name="connsiteY34" fmla="*/ 7315 h 10000"/>
                  <a:gd name="connsiteX35" fmla="*/ 2128 w 10000"/>
                  <a:gd name="connsiteY35" fmla="*/ 7818 h 10000"/>
                  <a:gd name="connsiteX36" fmla="*/ 2807 w 10000"/>
                  <a:gd name="connsiteY36" fmla="*/ 7368 h 10000"/>
                  <a:gd name="connsiteX37" fmla="*/ 2807 w 10000"/>
                  <a:gd name="connsiteY37" fmla="*/ 7818 h 10000"/>
                  <a:gd name="connsiteX38" fmla="*/ 3478 w 10000"/>
                  <a:gd name="connsiteY38" fmla="*/ 7361 h 10000"/>
                  <a:gd name="connsiteX39" fmla="*/ 3484 w 10000"/>
                  <a:gd name="connsiteY39" fmla="*/ 7811 h 10000"/>
                  <a:gd name="connsiteX40" fmla="*/ 4130 w 10000"/>
                  <a:gd name="connsiteY40" fmla="*/ 7328 h 10000"/>
                  <a:gd name="connsiteX41" fmla="*/ 4130 w 10000"/>
                  <a:gd name="connsiteY41" fmla="*/ 8613 h 10000"/>
                  <a:gd name="connsiteX42" fmla="*/ 4205 w 10000"/>
                  <a:gd name="connsiteY42" fmla="*/ 8520 h 10000"/>
                  <a:gd name="connsiteX43" fmla="*/ 4278 w 10000"/>
                  <a:gd name="connsiteY43" fmla="*/ 8434 h 10000"/>
                  <a:gd name="connsiteX44" fmla="*/ 4368 w 10000"/>
                  <a:gd name="connsiteY44" fmla="*/ 8361 h 10000"/>
                  <a:gd name="connsiteX45" fmla="*/ 4467 w 10000"/>
                  <a:gd name="connsiteY45" fmla="*/ 8295 h 10000"/>
                  <a:gd name="connsiteX46" fmla="*/ 4567 w 10000"/>
                  <a:gd name="connsiteY46" fmla="*/ 8249 h 10000"/>
                  <a:gd name="connsiteX47" fmla="*/ 4674 w 10000"/>
                  <a:gd name="connsiteY47" fmla="*/ 8215 h 10000"/>
                  <a:gd name="connsiteX48" fmla="*/ 4786 w 10000"/>
                  <a:gd name="connsiteY48" fmla="*/ 8189 h 10000"/>
                  <a:gd name="connsiteX49" fmla="*/ 4915 w 10000"/>
                  <a:gd name="connsiteY49" fmla="*/ 8182 h 10000"/>
                  <a:gd name="connsiteX50" fmla="*/ 5091 w 10000"/>
                  <a:gd name="connsiteY50" fmla="*/ 8195 h 10000"/>
                  <a:gd name="connsiteX51" fmla="*/ 5266 w 10000"/>
                  <a:gd name="connsiteY51" fmla="*/ 8242 h 10000"/>
                  <a:gd name="connsiteX52" fmla="*/ 5406 w 10000"/>
                  <a:gd name="connsiteY52" fmla="*/ 8321 h 10000"/>
                  <a:gd name="connsiteX53" fmla="*/ 5549 w 10000"/>
                  <a:gd name="connsiteY53" fmla="*/ 8421 h 10000"/>
                  <a:gd name="connsiteX54" fmla="*/ 5670 w 10000"/>
                  <a:gd name="connsiteY54" fmla="*/ 8540 h 10000"/>
                  <a:gd name="connsiteX55" fmla="*/ 5750 w 10000"/>
                  <a:gd name="connsiteY55" fmla="*/ 8686 h 10000"/>
                  <a:gd name="connsiteX56" fmla="*/ 5824 w 10000"/>
                  <a:gd name="connsiteY56" fmla="*/ 8838 h 10000"/>
                  <a:gd name="connsiteX57" fmla="*/ 5849 w 10000"/>
                  <a:gd name="connsiteY57" fmla="*/ 9004 h 10000"/>
                  <a:gd name="connsiteX58" fmla="*/ 5883 w 10000"/>
                  <a:gd name="connsiteY58" fmla="*/ 8997 h 10000"/>
                  <a:gd name="connsiteX59" fmla="*/ 5910 w 10000"/>
                  <a:gd name="connsiteY59" fmla="*/ 8997 h 10000"/>
                  <a:gd name="connsiteX60" fmla="*/ 5937 w 10000"/>
                  <a:gd name="connsiteY60" fmla="*/ 8991 h 10000"/>
                  <a:gd name="connsiteX61" fmla="*/ 5963 w 10000"/>
                  <a:gd name="connsiteY61" fmla="*/ 8991 h 10000"/>
                  <a:gd name="connsiteX62" fmla="*/ 5997 w 10000"/>
                  <a:gd name="connsiteY62" fmla="*/ 8984 h 10000"/>
                  <a:gd name="connsiteX63" fmla="*/ 6029 w 10000"/>
                  <a:gd name="connsiteY63" fmla="*/ 8984 h 10000"/>
                  <a:gd name="connsiteX64" fmla="*/ 6057 w 10000"/>
                  <a:gd name="connsiteY64" fmla="*/ 8984 h 10000"/>
                  <a:gd name="connsiteX65" fmla="*/ 6092 w 10000"/>
                  <a:gd name="connsiteY65" fmla="*/ 8984 h 10000"/>
                  <a:gd name="connsiteX66" fmla="*/ 6232 w 10000"/>
                  <a:gd name="connsiteY66" fmla="*/ 8991 h 10000"/>
                  <a:gd name="connsiteX67" fmla="*/ 6360 w 10000"/>
                  <a:gd name="connsiteY67" fmla="*/ 9024 h 10000"/>
                  <a:gd name="connsiteX68" fmla="*/ 6487 w 10000"/>
                  <a:gd name="connsiteY68" fmla="*/ 9070 h 10000"/>
                  <a:gd name="connsiteX69" fmla="*/ 6603 w 10000"/>
                  <a:gd name="connsiteY69" fmla="*/ 9137 h 10000"/>
                  <a:gd name="connsiteX70" fmla="*/ 6709 w 10000"/>
                  <a:gd name="connsiteY70" fmla="*/ 9216 h 10000"/>
                  <a:gd name="connsiteX71" fmla="*/ 6804 w 10000"/>
                  <a:gd name="connsiteY71" fmla="*/ 9302 h 10000"/>
                  <a:gd name="connsiteX72" fmla="*/ 6879 w 10000"/>
                  <a:gd name="connsiteY72" fmla="*/ 9415 h 10000"/>
                  <a:gd name="connsiteX73" fmla="*/ 6946 w 10000"/>
                  <a:gd name="connsiteY73" fmla="*/ 9527 h 10000"/>
                  <a:gd name="connsiteX74" fmla="*/ 3110 w 10000"/>
                  <a:gd name="connsiteY74" fmla="*/ 9527 h 10000"/>
                  <a:gd name="connsiteX75" fmla="*/ 3149 w 10000"/>
                  <a:gd name="connsiteY75" fmla="*/ 9441 h 10000"/>
                  <a:gd name="connsiteX76" fmla="*/ 3203 w 10000"/>
                  <a:gd name="connsiteY76" fmla="*/ 9355 h 10000"/>
                  <a:gd name="connsiteX77" fmla="*/ 3258 w 10000"/>
                  <a:gd name="connsiteY77" fmla="*/ 9289 h 10000"/>
                  <a:gd name="connsiteX78" fmla="*/ 3329 w 10000"/>
                  <a:gd name="connsiteY78" fmla="*/ 9223 h 10000"/>
                  <a:gd name="connsiteX79" fmla="*/ 3397 w 10000"/>
                  <a:gd name="connsiteY79" fmla="*/ 9170 h 10000"/>
                  <a:gd name="connsiteX80" fmla="*/ 3478 w 10000"/>
                  <a:gd name="connsiteY80" fmla="*/ 9117 h 10000"/>
                  <a:gd name="connsiteX81" fmla="*/ 3559 w 10000"/>
                  <a:gd name="connsiteY81" fmla="*/ 9077 h 10000"/>
                  <a:gd name="connsiteX82" fmla="*/ 3654 w 10000"/>
                  <a:gd name="connsiteY82" fmla="*/ 9044 h 10000"/>
                  <a:gd name="connsiteX83" fmla="*/ 3654 w 10000"/>
                  <a:gd name="connsiteY83" fmla="*/ 8195 h 10000"/>
                  <a:gd name="connsiteX84" fmla="*/ 484 w 10000"/>
                  <a:gd name="connsiteY84" fmla="*/ 8209 h 10000"/>
                  <a:gd name="connsiteX85" fmla="*/ 484 w 10000"/>
                  <a:gd name="connsiteY85" fmla="*/ 8838 h 10000"/>
                  <a:gd name="connsiteX86" fmla="*/ 424 w 10000"/>
                  <a:gd name="connsiteY86" fmla="*/ 8918 h 10000"/>
                  <a:gd name="connsiteX87" fmla="*/ 378 w 10000"/>
                  <a:gd name="connsiteY87" fmla="*/ 9004 h 10000"/>
                  <a:gd name="connsiteX88" fmla="*/ 342 w 10000"/>
                  <a:gd name="connsiteY88" fmla="*/ 9097 h 10000"/>
                  <a:gd name="connsiteX89" fmla="*/ 329 w 10000"/>
                  <a:gd name="connsiteY89" fmla="*/ 9203 h 10000"/>
                  <a:gd name="connsiteX90" fmla="*/ 302 w 10000"/>
                  <a:gd name="connsiteY90" fmla="*/ 9196 h 10000"/>
                  <a:gd name="connsiteX91" fmla="*/ 281 w 10000"/>
                  <a:gd name="connsiteY91" fmla="*/ 9196 h 10000"/>
                  <a:gd name="connsiteX92" fmla="*/ 608 w 10000"/>
                  <a:gd name="connsiteY92" fmla="*/ 8657 h 10000"/>
                  <a:gd name="connsiteX93" fmla="*/ 817 w 10000"/>
                  <a:gd name="connsiteY93" fmla="*/ 8657 h 10000"/>
                  <a:gd name="connsiteX94" fmla="*/ 670 w 10000"/>
                  <a:gd name="connsiteY94" fmla="*/ 8486 h 10000"/>
                  <a:gd name="connsiteX95" fmla="*/ 243 w 10000"/>
                  <a:gd name="connsiteY95" fmla="*/ 8269 h 10000"/>
                  <a:gd name="connsiteX96" fmla="*/ 1347 w 10000"/>
                  <a:gd name="connsiteY96" fmla="*/ 9184 h 10000"/>
                  <a:gd name="connsiteX97" fmla="*/ 1103 w 10000"/>
                  <a:gd name="connsiteY97" fmla="*/ 9282 h 10000"/>
                  <a:gd name="connsiteX98" fmla="*/ 512 w 10000"/>
                  <a:gd name="connsiteY98" fmla="*/ 8684 h 10000"/>
                  <a:gd name="connsiteX99" fmla="*/ 401 w 10000"/>
                  <a:gd name="connsiteY99" fmla="*/ 8678 h 10000"/>
                  <a:gd name="connsiteX100" fmla="*/ 0 w 10000"/>
                  <a:gd name="connsiteY100" fmla="*/ 7088 h 10000"/>
                  <a:gd name="connsiteX101" fmla="*/ 905 w 10000"/>
                  <a:gd name="connsiteY101" fmla="*/ 8758 h 10000"/>
                  <a:gd name="connsiteX102" fmla="*/ 548 w 10000"/>
                  <a:gd name="connsiteY102" fmla="*/ 8945 h 10000"/>
                  <a:gd name="connsiteX103" fmla="*/ 993 w 10000"/>
                  <a:gd name="connsiteY103" fmla="*/ 9002 h 10000"/>
                  <a:gd name="connsiteX104" fmla="*/ 1463 w 10000"/>
                  <a:gd name="connsiteY104" fmla="*/ 9426 h 10000"/>
                  <a:gd name="connsiteX105" fmla="*/ 8461 w 10000"/>
                  <a:gd name="connsiteY105" fmla="*/ 9998 h 10000"/>
                  <a:gd name="connsiteX106" fmla="*/ 8629 w 10000"/>
                  <a:gd name="connsiteY106" fmla="*/ 9231 h 10000"/>
                  <a:gd name="connsiteX107" fmla="*/ 9118 w 10000"/>
                  <a:gd name="connsiteY107" fmla="*/ 8935 h 10000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281 w 10000"/>
                  <a:gd name="connsiteY91" fmla="*/ 9196 h 10294"/>
                  <a:gd name="connsiteX92" fmla="*/ 608 w 10000"/>
                  <a:gd name="connsiteY92" fmla="*/ 8657 h 10294"/>
                  <a:gd name="connsiteX93" fmla="*/ 817 w 10000"/>
                  <a:gd name="connsiteY93" fmla="*/ 8657 h 10294"/>
                  <a:gd name="connsiteX94" fmla="*/ 670 w 10000"/>
                  <a:gd name="connsiteY94" fmla="*/ 8486 h 10294"/>
                  <a:gd name="connsiteX95" fmla="*/ 243 w 10000"/>
                  <a:gd name="connsiteY95" fmla="*/ 8269 h 10294"/>
                  <a:gd name="connsiteX96" fmla="*/ 1347 w 10000"/>
                  <a:gd name="connsiteY96" fmla="*/ 9184 h 10294"/>
                  <a:gd name="connsiteX97" fmla="*/ 1103 w 10000"/>
                  <a:gd name="connsiteY97" fmla="*/ 9282 h 10294"/>
                  <a:gd name="connsiteX98" fmla="*/ 512 w 10000"/>
                  <a:gd name="connsiteY98" fmla="*/ 8684 h 10294"/>
                  <a:gd name="connsiteX99" fmla="*/ 401 w 10000"/>
                  <a:gd name="connsiteY99" fmla="*/ 8678 h 10294"/>
                  <a:gd name="connsiteX100" fmla="*/ 0 w 10000"/>
                  <a:gd name="connsiteY100" fmla="*/ 7088 h 10294"/>
                  <a:gd name="connsiteX101" fmla="*/ 905 w 10000"/>
                  <a:gd name="connsiteY101" fmla="*/ 8758 h 10294"/>
                  <a:gd name="connsiteX102" fmla="*/ 548 w 10000"/>
                  <a:gd name="connsiteY102" fmla="*/ 8945 h 10294"/>
                  <a:gd name="connsiteX103" fmla="*/ 993 w 10000"/>
                  <a:gd name="connsiteY103" fmla="*/ 9002 h 10294"/>
                  <a:gd name="connsiteX104" fmla="*/ 1463 w 10000"/>
                  <a:gd name="connsiteY104" fmla="*/ 9426 h 10294"/>
                  <a:gd name="connsiteX105" fmla="*/ 6226 w 10000"/>
                  <a:gd name="connsiteY105" fmla="*/ 10294 h 10294"/>
                  <a:gd name="connsiteX106" fmla="*/ 8629 w 10000"/>
                  <a:gd name="connsiteY106" fmla="*/ 9231 h 10294"/>
                  <a:gd name="connsiteX107" fmla="*/ 9118 w 10000"/>
                  <a:gd name="connsiteY107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302 w 10000"/>
                  <a:gd name="connsiteY90" fmla="*/ 9196 h 10294"/>
                  <a:gd name="connsiteX91" fmla="*/ 608 w 10000"/>
                  <a:gd name="connsiteY91" fmla="*/ 8657 h 10294"/>
                  <a:gd name="connsiteX92" fmla="*/ 817 w 10000"/>
                  <a:gd name="connsiteY92" fmla="*/ 8657 h 10294"/>
                  <a:gd name="connsiteX93" fmla="*/ 670 w 10000"/>
                  <a:gd name="connsiteY93" fmla="*/ 8486 h 10294"/>
                  <a:gd name="connsiteX94" fmla="*/ 243 w 10000"/>
                  <a:gd name="connsiteY94" fmla="*/ 8269 h 10294"/>
                  <a:gd name="connsiteX95" fmla="*/ 1347 w 10000"/>
                  <a:gd name="connsiteY95" fmla="*/ 9184 h 10294"/>
                  <a:gd name="connsiteX96" fmla="*/ 1103 w 10000"/>
                  <a:gd name="connsiteY96" fmla="*/ 9282 h 10294"/>
                  <a:gd name="connsiteX97" fmla="*/ 512 w 10000"/>
                  <a:gd name="connsiteY97" fmla="*/ 8684 h 10294"/>
                  <a:gd name="connsiteX98" fmla="*/ 401 w 10000"/>
                  <a:gd name="connsiteY98" fmla="*/ 8678 h 10294"/>
                  <a:gd name="connsiteX99" fmla="*/ 0 w 10000"/>
                  <a:gd name="connsiteY99" fmla="*/ 7088 h 10294"/>
                  <a:gd name="connsiteX100" fmla="*/ 905 w 10000"/>
                  <a:gd name="connsiteY100" fmla="*/ 8758 h 10294"/>
                  <a:gd name="connsiteX101" fmla="*/ 548 w 10000"/>
                  <a:gd name="connsiteY101" fmla="*/ 8945 h 10294"/>
                  <a:gd name="connsiteX102" fmla="*/ 993 w 10000"/>
                  <a:gd name="connsiteY102" fmla="*/ 9002 h 10294"/>
                  <a:gd name="connsiteX103" fmla="*/ 1463 w 10000"/>
                  <a:gd name="connsiteY103" fmla="*/ 9426 h 10294"/>
                  <a:gd name="connsiteX104" fmla="*/ 6226 w 10000"/>
                  <a:gd name="connsiteY104" fmla="*/ 10294 h 10294"/>
                  <a:gd name="connsiteX105" fmla="*/ 8629 w 10000"/>
                  <a:gd name="connsiteY105" fmla="*/ 9231 h 10294"/>
                  <a:gd name="connsiteX106" fmla="*/ 9118 w 10000"/>
                  <a:gd name="connsiteY106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329 w 10000"/>
                  <a:gd name="connsiteY89" fmla="*/ 9203 h 10294"/>
                  <a:gd name="connsiteX90" fmla="*/ 608 w 10000"/>
                  <a:gd name="connsiteY90" fmla="*/ 8657 h 10294"/>
                  <a:gd name="connsiteX91" fmla="*/ 817 w 10000"/>
                  <a:gd name="connsiteY91" fmla="*/ 8657 h 10294"/>
                  <a:gd name="connsiteX92" fmla="*/ 670 w 10000"/>
                  <a:gd name="connsiteY92" fmla="*/ 8486 h 10294"/>
                  <a:gd name="connsiteX93" fmla="*/ 243 w 10000"/>
                  <a:gd name="connsiteY93" fmla="*/ 8269 h 10294"/>
                  <a:gd name="connsiteX94" fmla="*/ 1347 w 10000"/>
                  <a:gd name="connsiteY94" fmla="*/ 9184 h 10294"/>
                  <a:gd name="connsiteX95" fmla="*/ 1103 w 10000"/>
                  <a:gd name="connsiteY95" fmla="*/ 9282 h 10294"/>
                  <a:gd name="connsiteX96" fmla="*/ 512 w 10000"/>
                  <a:gd name="connsiteY96" fmla="*/ 8684 h 10294"/>
                  <a:gd name="connsiteX97" fmla="*/ 401 w 10000"/>
                  <a:gd name="connsiteY97" fmla="*/ 8678 h 10294"/>
                  <a:gd name="connsiteX98" fmla="*/ 0 w 10000"/>
                  <a:gd name="connsiteY98" fmla="*/ 7088 h 10294"/>
                  <a:gd name="connsiteX99" fmla="*/ 905 w 10000"/>
                  <a:gd name="connsiteY99" fmla="*/ 8758 h 10294"/>
                  <a:gd name="connsiteX100" fmla="*/ 548 w 10000"/>
                  <a:gd name="connsiteY100" fmla="*/ 8945 h 10294"/>
                  <a:gd name="connsiteX101" fmla="*/ 993 w 10000"/>
                  <a:gd name="connsiteY101" fmla="*/ 9002 h 10294"/>
                  <a:gd name="connsiteX102" fmla="*/ 1463 w 10000"/>
                  <a:gd name="connsiteY102" fmla="*/ 9426 h 10294"/>
                  <a:gd name="connsiteX103" fmla="*/ 6226 w 10000"/>
                  <a:gd name="connsiteY103" fmla="*/ 10294 h 10294"/>
                  <a:gd name="connsiteX104" fmla="*/ 8629 w 10000"/>
                  <a:gd name="connsiteY104" fmla="*/ 9231 h 10294"/>
                  <a:gd name="connsiteX105" fmla="*/ 9118 w 10000"/>
                  <a:gd name="connsiteY105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548 w 10000"/>
                  <a:gd name="connsiteY99" fmla="*/ 8945 h 10294"/>
                  <a:gd name="connsiteX100" fmla="*/ 993 w 10000"/>
                  <a:gd name="connsiteY100" fmla="*/ 9002 h 10294"/>
                  <a:gd name="connsiteX101" fmla="*/ 1463 w 10000"/>
                  <a:gd name="connsiteY101" fmla="*/ 9426 h 10294"/>
                  <a:gd name="connsiteX102" fmla="*/ 6226 w 10000"/>
                  <a:gd name="connsiteY102" fmla="*/ 10294 h 10294"/>
                  <a:gd name="connsiteX103" fmla="*/ 8629 w 10000"/>
                  <a:gd name="connsiteY103" fmla="*/ 9231 h 10294"/>
                  <a:gd name="connsiteX104" fmla="*/ 9118 w 10000"/>
                  <a:gd name="connsiteY104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342 w 10000"/>
                  <a:gd name="connsiteY88" fmla="*/ 9097 h 10294"/>
                  <a:gd name="connsiteX89" fmla="*/ 608 w 10000"/>
                  <a:gd name="connsiteY89" fmla="*/ 8657 h 10294"/>
                  <a:gd name="connsiteX90" fmla="*/ 817 w 10000"/>
                  <a:gd name="connsiteY90" fmla="*/ 8657 h 10294"/>
                  <a:gd name="connsiteX91" fmla="*/ 670 w 10000"/>
                  <a:gd name="connsiteY91" fmla="*/ 8486 h 10294"/>
                  <a:gd name="connsiteX92" fmla="*/ 243 w 10000"/>
                  <a:gd name="connsiteY92" fmla="*/ 8269 h 10294"/>
                  <a:gd name="connsiteX93" fmla="*/ 1347 w 10000"/>
                  <a:gd name="connsiteY93" fmla="*/ 9184 h 10294"/>
                  <a:gd name="connsiteX94" fmla="*/ 1103 w 10000"/>
                  <a:gd name="connsiteY94" fmla="*/ 9282 h 10294"/>
                  <a:gd name="connsiteX95" fmla="*/ 512 w 10000"/>
                  <a:gd name="connsiteY95" fmla="*/ 8684 h 10294"/>
                  <a:gd name="connsiteX96" fmla="*/ 401 w 10000"/>
                  <a:gd name="connsiteY96" fmla="*/ 8678 h 10294"/>
                  <a:gd name="connsiteX97" fmla="*/ 0 w 10000"/>
                  <a:gd name="connsiteY97" fmla="*/ 7088 h 10294"/>
                  <a:gd name="connsiteX98" fmla="*/ 905 w 10000"/>
                  <a:gd name="connsiteY98" fmla="*/ 8758 h 10294"/>
                  <a:gd name="connsiteX99" fmla="*/ 993 w 10000"/>
                  <a:gd name="connsiteY99" fmla="*/ 9002 h 10294"/>
                  <a:gd name="connsiteX100" fmla="*/ 1463 w 10000"/>
                  <a:gd name="connsiteY100" fmla="*/ 9426 h 10294"/>
                  <a:gd name="connsiteX101" fmla="*/ 6226 w 10000"/>
                  <a:gd name="connsiteY101" fmla="*/ 10294 h 10294"/>
                  <a:gd name="connsiteX102" fmla="*/ 8629 w 10000"/>
                  <a:gd name="connsiteY102" fmla="*/ 9231 h 10294"/>
                  <a:gd name="connsiteX103" fmla="*/ 9118 w 10000"/>
                  <a:gd name="connsiteY103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378 w 10000"/>
                  <a:gd name="connsiteY87" fmla="*/ 9004 h 10294"/>
                  <a:gd name="connsiteX88" fmla="*/ 608 w 10000"/>
                  <a:gd name="connsiteY88" fmla="*/ 8657 h 10294"/>
                  <a:gd name="connsiteX89" fmla="*/ 817 w 10000"/>
                  <a:gd name="connsiteY89" fmla="*/ 8657 h 10294"/>
                  <a:gd name="connsiteX90" fmla="*/ 670 w 10000"/>
                  <a:gd name="connsiteY90" fmla="*/ 8486 h 10294"/>
                  <a:gd name="connsiteX91" fmla="*/ 243 w 10000"/>
                  <a:gd name="connsiteY91" fmla="*/ 8269 h 10294"/>
                  <a:gd name="connsiteX92" fmla="*/ 1347 w 10000"/>
                  <a:gd name="connsiteY92" fmla="*/ 9184 h 10294"/>
                  <a:gd name="connsiteX93" fmla="*/ 1103 w 10000"/>
                  <a:gd name="connsiteY93" fmla="*/ 9282 h 10294"/>
                  <a:gd name="connsiteX94" fmla="*/ 512 w 10000"/>
                  <a:gd name="connsiteY94" fmla="*/ 8684 h 10294"/>
                  <a:gd name="connsiteX95" fmla="*/ 401 w 10000"/>
                  <a:gd name="connsiteY95" fmla="*/ 8678 h 10294"/>
                  <a:gd name="connsiteX96" fmla="*/ 0 w 10000"/>
                  <a:gd name="connsiteY96" fmla="*/ 7088 h 10294"/>
                  <a:gd name="connsiteX97" fmla="*/ 905 w 10000"/>
                  <a:gd name="connsiteY97" fmla="*/ 8758 h 10294"/>
                  <a:gd name="connsiteX98" fmla="*/ 993 w 10000"/>
                  <a:gd name="connsiteY98" fmla="*/ 9002 h 10294"/>
                  <a:gd name="connsiteX99" fmla="*/ 1463 w 10000"/>
                  <a:gd name="connsiteY99" fmla="*/ 9426 h 10294"/>
                  <a:gd name="connsiteX100" fmla="*/ 6226 w 10000"/>
                  <a:gd name="connsiteY100" fmla="*/ 10294 h 10294"/>
                  <a:gd name="connsiteX101" fmla="*/ 8629 w 10000"/>
                  <a:gd name="connsiteY101" fmla="*/ 9231 h 10294"/>
                  <a:gd name="connsiteX102" fmla="*/ 9118 w 10000"/>
                  <a:gd name="connsiteY102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424 w 10000"/>
                  <a:gd name="connsiteY86" fmla="*/ 8918 h 10294"/>
                  <a:gd name="connsiteX87" fmla="*/ 608 w 10000"/>
                  <a:gd name="connsiteY87" fmla="*/ 8657 h 10294"/>
                  <a:gd name="connsiteX88" fmla="*/ 817 w 10000"/>
                  <a:gd name="connsiteY88" fmla="*/ 8657 h 10294"/>
                  <a:gd name="connsiteX89" fmla="*/ 670 w 10000"/>
                  <a:gd name="connsiteY89" fmla="*/ 8486 h 10294"/>
                  <a:gd name="connsiteX90" fmla="*/ 243 w 10000"/>
                  <a:gd name="connsiteY90" fmla="*/ 8269 h 10294"/>
                  <a:gd name="connsiteX91" fmla="*/ 1347 w 10000"/>
                  <a:gd name="connsiteY91" fmla="*/ 9184 h 10294"/>
                  <a:gd name="connsiteX92" fmla="*/ 1103 w 10000"/>
                  <a:gd name="connsiteY92" fmla="*/ 9282 h 10294"/>
                  <a:gd name="connsiteX93" fmla="*/ 512 w 10000"/>
                  <a:gd name="connsiteY93" fmla="*/ 8684 h 10294"/>
                  <a:gd name="connsiteX94" fmla="*/ 401 w 10000"/>
                  <a:gd name="connsiteY94" fmla="*/ 8678 h 10294"/>
                  <a:gd name="connsiteX95" fmla="*/ 0 w 10000"/>
                  <a:gd name="connsiteY95" fmla="*/ 7088 h 10294"/>
                  <a:gd name="connsiteX96" fmla="*/ 905 w 10000"/>
                  <a:gd name="connsiteY96" fmla="*/ 8758 h 10294"/>
                  <a:gd name="connsiteX97" fmla="*/ 993 w 10000"/>
                  <a:gd name="connsiteY97" fmla="*/ 9002 h 10294"/>
                  <a:gd name="connsiteX98" fmla="*/ 1463 w 10000"/>
                  <a:gd name="connsiteY98" fmla="*/ 9426 h 10294"/>
                  <a:gd name="connsiteX99" fmla="*/ 6226 w 10000"/>
                  <a:gd name="connsiteY99" fmla="*/ 10294 h 10294"/>
                  <a:gd name="connsiteX100" fmla="*/ 8629 w 10000"/>
                  <a:gd name="connsiteY100" fmla="*/ 9231 h 10294"/>
                  <a:gd name="connsiteX101" fmla="*/ 9118 w 10000"/>
                  <a:gd name="connsiteY101" fmla="*/ 8935 h 10294"/>
                  <a:gd name="connsiteX0" fmla="*/ 9118 w 10000"/>
                  <a:gd name="connsiteY0" fmla="*/ 8935 h 10294"/>
                  <a:gd name="connsiteX1" fmla="*/ 10000 w 10000"/>
                  <a:gd name="connsiteY1" fmla="*/ 7381 h 10294"/>
                  <a:gd name="connsiteX2" fmla="*/ 9173 w 10000"/>
                  <a:gd name="connsiteY2" fmla="*/ 7381 h 10294"/>
                  <a:gd name="connsiteX3" fmla="*/ 9173 w 10000"/>
                  <a:gd name="connsiteY3" fmla="*/ 4128 h 10294"/>
                  <a:gd name="connsiteX4" fmla="*/ 7133 w 10000"/>
                  <a:gd name="connsiteY4" fmla="*/ 4128 h 10294"/>
                  <a:gd name="connsiteX5" fmla="*/ 7133 w 10000"/>
                  <a:gd name="connsiteY5" fmla="*/ 3816 h 10294"/>
                  <a:gd name="connsiteX6" fmla="*/ 8764 w 10000"/>
                  <a:gd name="connsiteY6" fmla="*/ 3816 h 10294"/>
                  <a:gd name="connsiteX7" fmla="*/ 8764 w 10000"/>
                  <a:gd name="connsiteY7" fmla="*/ 3498 h 10294"/>
                  <a:gd name="connsiteX8" fmla="*/ 7133 w 10000"/>
                  <a:gd name="connsiteY8" fmla="*/ 3498 h 10294"/>
                  <a:gd name="connsiteX9" fmla="*/ 7133 w 10000"/>
                  <a:gd name="connsiteY9" fmla="*/ 1365 h 10294"/>
                  <a:gd name="connsiteX10" fmla="*/ 4733 w 10000"/>
                  <a:gd name="connsiteY10" fmla="*/ 550 h 10294"/>
                  <a:gd name="connsiteX11" fmla="*/ 4733 w 10000"/>
                  <a:gd name="connsiteY11" fmla="*/ 5672 h 10294"/>
                  <a:gd name="connsiteX12" fmla="*/ 4353 w 10000"/>
                  <a:gd name="connsiteY12" fmla="*/ 5678 h 10294"/>
                  <a:gd name="connsiteX13" fmla="*/ 4353 w 10000"/>
                  <a:gd name="connsiteY13" fmla="*/ 1756 h 10294"/>
                  <a:gd name="connsiteX14" fmla="*/ 3546 w 10000"/>
                  <a:gd name="connsiteY14" fmla="*/ 2061 h 10294"/>
                  <a:gd name="connsiteX15" fmla="*/ 3110 w 10000"/>
                  <a:gd name="connsiteY15" fmla="*/ 2061 h 10294"/>
                  <a:gd name="connsiteX16" fmla="*/ 3110 w 10000"/>
                  <a:gd name="connsiteY16" fmla="*/ 0 h 10294"/>
                  <a:gd name="connsiteX17" fmla="*/ 2949 w 10000"/>
                  <a:gd name="connsiteY17" fmla="*/ 0 h 10294"/>
                  <a:gd name="connsiteX18" fmla="*/ 2949 w 10000"/>
                  <a:gd name="connsiteY18" fmla="*/ 2061 h 10294"/>
                  <a:gd name="connsiteX19" fmla="*/ 2579 w 10000"/>
                  <a:gd name="connsiteY19" fmla="*/ 2061 h 10294"/>
                  <a:gd name="connsiteX20" fmla="*/ 2579 w 10000"/>
                  <a:gd name="connsiteY20" fmla="*/ 2492 h 10294"/>
                  <a:gd name="connsiteX21" fmla="*/ 1914 w 10000"/>
                  <a:gd name="connsiteY21" fmla="*/ 2815 h 10294"/>
                  <a:gd name="connsiteX22" fmla="*/ 1914 w 10000"/>
                  <a:gd name="connsiteY22" fmla="*/ 4413 h 10294"/>
                  <a:gd name="connsiteX23" fmla="*/ 1558 w 10000"/>
                  <a:gd name="connsiteY23" fmla="*/ 4413 h 10294"/>
                  <a:gd name="connsiteX24" fmla="*/ 1558 w 10000"/>
                  <a:gd name="connsiteY24" fmla="*/ 4837 h 10294"/>
                  <a:gd name="connsiteX25" fmla="*/ 1914 w 10000"/>
                  <a:gd name="connsiteY25" fmla="*/ 4837 h 10294"/>
                  <a:gd name="connsiteX26" fmla="*/ 1914 w 10000"/>
                  <a:gd name="connsiteY26" fmla="*/ 5367 h 10294"/>
                  <a:gd name="connsiteX27" fmla="*/ 1558 w 10000"/>
                  <a:gd name="connsiteY27" fmla="*/ 5367 h 10294"/>
                  <a:gd name="connsiteX28" fmla="*/ 1558 w 10000"/>
                  <a:gd name="connsiteY28" fmla="*/ 5791 h 10294"/>
                  <a:gd name="connsiteX29" fmla="*/ 1914 w 10000"/>
                  <a:gd name="connsiteY29" fmla="*/ 5791 h 10294"/>
                  <a:gd name="connsiteX30" fmla="*/ 1914 w 10000"/>
                  <a:gd name="connsiteY30" fmla="*/ 7043 h 10294"/>
                  <a:gd name="connsiteX31" fmla="*/ 853 w 10000"/>
                  <a:gd name="connsiteY31" fmla="*/ 7043 h 10294"/>
                  <a:gd name="connsiteX32" fmla="*/ 853 w 10000"/>
                  <a:gd name="connsiteY32" fmla="*/ 7818 h 10294"/>
                  <a:gd name="connsiteX33" fmla="*/ 1397 w 10000"/>
                  <a:gd name="connsiteY33" fmla="*/ 7838 h 10294"/>
                  <a:gd name="connsiteX34" fmla="*/ 2134 w 10000"/>
                  <a:gd name="connsiteY34" fmla="*/ 7315 h 10294"/>
                  <a:gd name="connsiteX35" fmla="*/ 2128 w 10000"/>
                  <a:gd name="connsiteY35" fmla="*/ 7818 h 10294"/>
                  <a:gd name="connsiteX36" fmla="*/ 2807 w 10000"/>
                  <a:gd name="connsiteY36" fmla="*/ 7368 h 10294"/>
                  <a:gd name="connsiteX37" fmla="*/ 2807 w 10000"/>
                  <a:gd name="connsiteY37" fmla="*/ 7818 h 10294"/>
                  <a:gd name="connsiteX38" fmla="*/ 3478 w 10000"/>
                  <a:gd name="connsiteY38" fmla="*/ 7361 h 10294"/>
                  <a:gd name="connsiteX39" fmla="*/ 3484 w 10000"/>
                  <a:gd name="connsiteY39" fmla="*/ 7811 h 10294"/>
                  <a:gd name="connsiteX40" fmla="*/ 4130 w 10000"/>
                  <a:gd name="connsiteY40" fmla="*/ 7328 h 10294"/>
                  <a:gd name="connsiteX41" fmla="*/ 4130 w 10000"/>
                  <a:gd name="connsiteY41" fmla="*/ 8613 h 10294"/>
                  <a:gd name="connsiteX42" fmla="*/ 4205 w 10000"/>
                  <a:gd name="connsiteY42" fmla="*/ 8520 h 10294"/>
                  <a:gd name="connsiteX43" fmla="*/ 4278 w 10000"/>
                  <a:gd name="connsiteY43" fmla="*/ 8434 h 10294"/>
                  <a:gd name="connsiteX44" fmla="*/ 4368 w 10000"/>
                  <a:gd name="connsiteY44" fmla="*/ 8361 h 10294"/>
                  <a:gd name="connsiteX45" fmla="*/ 4467 w 10000"/>
                  <a:gd name="connsiteY45" fmla="*/ 8295 h 10294"/>
                  <a:gd name="connsiteX46" fmla="*/ 4567 w 10000"/>
                  <a:gd name="connsiteY46" fmla="*/ 8249 h 10294"/>
                  <a:gd name="connsiteX47" fmla="*/ 4674 w 10000"/>
                  <a:gd name="connsiteY47" fmla="*/ 8215 h 10294"/>
                  <a:gd name="connsiteX48" fmla="*/ 4786 w 10000"/>
                  <a:gd name="connsiteY48" fmla="*/ 8189 h 10294"/>
                  <a:gd name="connsiteX49" fmla="*/ 4915 w 10000"/>
                  <a:gd name="connsiteY49" fmla="*/ 8182 h 10294"/>
                  <a:gd name="connsiteX50" fmla="*/ 5091 w 10000"/>
                  <a:gd name="connsiteY50" fmla="*/ 8195 h 10294"/>
                  <a:gd name="connsiteX51" fmla="*/ 5266 w 10000"/>
                  <a:gd name="connsiteY51" fmla="*/ 8242 h 10294"/>
                  <a:gd name="connsiteX52" fmla="*/ 5406 w 10000"/>
                  <a:gd name="connsiteY52" fmla="*/ 8321 h 10294"/>
                  <a:gd name="connsiteX53" fmla="*/ 5549 w 10000"/>
                  <a:gd name="connsiteY53" fmla="*/ 8421 h 10294"/>
                  <a:gd name="connsiteX54" fmla="*/ 5670 w 10000"/>
                  <a:gd name="connsiteY54" fmla="*/ 8540 h 10294"/>
                  <a:gd name="connsiteX55" fmla="*/ 5750 w 10000"/>
                  <a:gd name="connsiteY55" fmla="*/ 8686 h 10294"/>
                  <a:gd name="connsiteX56" fmla="*/ 5824 w 10000"/>
                  <a:gd name="connsiteY56" fmla="*/ 8838 h 10294"/>
                  <a:gd name="connsiteX57" fmla="*/ 5849 w 10000"/>
                  <a:gd name="connsiteY57" fmla="*/ 9004 h 10294"/>
                  <a:gd name="connsiteX58" fmla="*/ 5883 w 10000"/>
                  <a:gd name="connsiteY58" fmla="*/ 8997 h 10294"/>
                  <a:gd name="connsiteX59" fmla="*/ 5910 w 10000"/>
                  <a:gd name="connsiteY59" fmla="*/ 8997 h 10294"/>
                  <a:gd name="connsiteX60" fmla="*/ 5937 w 10000"/>
                  <a:gd name="connsiteY60" fmla="*/ 8991 h 10294"/>
                  <a:gd name="connsiteX61" fmla="*/ 5963 w 10000"/>
                  <a:gd name="connsiteY61" fmla="*/ 8991 h 10294"/>
                  <a:gd name="connsiteX62" fmla="*/ 5997 w 10000"/>
                  <a:gd name="connsiteY62" fmla="*/ 8984 h 10294"/>
                  <a:gd name="connsiteX63" fmla="*/ 6029 w 10000"/>
                  <a:gd name="connsiteY63" fmla="*/ 8984 h 10294"/>
                  <a:gd name="connsiteX64" fmla="*/ 6057 w 10000"/>
                  <a:gd name="connsiteY64" fmla="*/ 8984 h 10294"/>
                  <a:gd name="connsiteX65" fmla="*/ 6092 w 10000"/>
                  <a:gd name="connsiteY65" fmla="*/ 8984 h 10294"/>
                  <a:gd name="connsiteX66" fmla="*/ 6232 w 10000"/>
                  <a:gd name="connsiteY66" fmla="*/ 8991 h 10294"/>
                  <a:gd name="connsiteX67" fmla="*/ 6360 w 10000"/>
                  <a:gd name="connsiteY67" fmla="*/ 9024 h 10294"/>
                  <a:gd name="connsiteX68" fmla="*/ 6487 w 10000"/>
                  <a:gd name="connsiteY68" fmla="*/ 9070 h 10294"/>
                  <a:gd name="connsiteX69" fmla="*/ 6603 w 10000"/>
                  <a:gd name="connsiteY69" fmla="*/ 9137 h 10294"/>
                  <a:gd name="connsiteX70" fmla="*/ 6709 w 10000"/>
                  <a:gd name="connsiteY70" fmla="*/ 9216 h 10294"/>
                  <a:gd name="connsiteX71" fmla="*/ 6804 w 10000"/>
                  <a:gd name="connsiteY71" fmla="*/ 9302 h 10294"/>
                  <a:gd name="connsiteX72" fmla="*/ 6879 w 10000"/>
                  <a:gd name="connsiteY72" fmla="*/ 9415 h 10294"/>
                  <a:gd name="connsiteX73" fmla="*/ 6946 w 10000"/>
                  <a:gd name="connsiteY73" fmla="*/ 9527 h 10294"/>
                  <a:gd name="connsiteX74" fmla="*/ 3110 w 10000"/>
                  <a:gd name="connsiteY74" fmla="*/ 9527 h 10294"/>
                  <a:gd name="connsiteX75" fmla="*/ 3149 w 10000"/>
                  <a:gd name="connsiteY75" fmla="*/ 9441 h 10294"/>
                  <a:gd name="connsiteX76" fmla="*/ 3203 w 10000"/>
                  <a:gd name="connsiteY76" fmla="*/ 9355 h 10294"/>
                  <a:gd name="connsiteX77" fmla="*/ 3258 w 10000"/>
                  <a:gd name="connsiteY77" fmla="*/ 9289 h 10294"/>
                  <a:gd name="connsiteX78" fmla="*/ 3329 w 10000"/>
                  <a:gd name="connsiteY78" fmla="*/ 9223 h 10294"/>
                  <a:gd name="connsiteX79" fmla="*/ 3397 w 10000"/>
                  <a:gd name="connsiteY79" fmla="*/ 9170 h 10294"/>
                  <a:gd name="connsiteX80" fmla="*/ 3478 w 10000"/>
                  <a:gd name="connsiteY80" fmla="*/ 9117 h 10294"/>
                  <a:gd name="connsiteX81" fmla="*/ 3559 w 10000"/>
                  <a:gd name="connsiteY81" fmla="*/ 9077 h 10294"/>
                  <a:gd name="connsiteX82" fmla="*/ 3654 w 10000"/>
                  <a:gd name="connsiteY82" fmla="*/ 9044 h 10294"/>
                  <a:gd name="connsiteX83" fmla="*/ 3654 w 10000"/>
                  <a:gd name="connsiteY83" fmla="*/ 8195 h 10294"/>
                  <a:gd name="connsiteX84" fmla="*/ 484 w 10000"/>
                  <a:gd name="connsiteY84" fmla="*/ 8209 h 10294"/>
                  <a:gd name="connsiteX85" fmla="*/ 484 w 10000"/>
                  <a:gd name="connsiteY85" fmla="*/ 8838 h 10294"/>
                  <a:gd name="connsiteX86" fmla="*/ 608 w 10000"/>
                  <a:gd name="connsiteY86" fmla="*/ 8657 h 10294"/>
                  <a:gd name="connsiteX87" fmla="*/ 817 w 10000"/>
                  <a:gd name="connsiteY87" fmla="*/ 8657 h 10294"/>
                  <a:gd name="connsiteX88" fmla="*/ 670 w 10000"/>
                  <a:gd name="connsiteY88" fmla="*/ 8486 h 10294"/>
                  <a:gd name="connsiteX89" fmla="*/ 243 w 10000"/>
                  <a:gd name="connsiteY89" fmla="*/ 8269 h 10294"/>
                  <a:gd name="connsiteX90" fmla="*/ 1347 w 10000"/>
                  <a:gd name="connsiteY90" fmla="*/ 9184 h 10294"/>
                  <a:gd name="connsiteX91" fmla="*/ 1103 w 10000"/>
                  <a:gd name="connsiteY91" fmla="*/ 9282 h 10294"/>
                  <a:gd name="connsiteX92" fmla="*/ 512 w 10000"/>
                  <a:gd name="connsiteY92" fmla="*/ 8684 h 10294"/>
                  <a:gd name="connsiteX93" fmla="*/ 401 w 10000"/>
                  <a:gd name="connsiteY93" fmla="*/ 8678 h 10294"/>
                  <a:gd name="connsiteX94" fmla="*/ 0 w 10000"/>
                  <a:gd name="connsiteY94" fmla="*/ 7088 h 10294"/>
                  <a:gd name="connsiteX95" fmla="*/ 905 w 10000"/>
                  <a:gd name="connsiteY95" fmla="*/ 8758 h 10294"/>
                  <a:gd name="connsiteX96" fmla="*/ 993 w 10000"/>
                  <a:gd name="connsiteY96" fmla="*/ 9002 h 10294"/>
                  <a:gd name="connsiteX97" fmla="*/ 1463 w 10000"/>
                  <a:gd name="connsiteY97" fmla="*/ 9426 h 10294"/>
                  <a:gd name="connsiteX98" fmla="*/ 6226 w 10000"/>
                  <a:gd name="connsiteY98" fmla="*/ 10294 h 10294"/>
                  <a:gd name="connsiteX99" fmla="*/ 8629 w 10000"/>
                  <a:gd name="connsiteY99" fmla="*/ 9231 h 10294"/>
                  <a:gd name="connsiteX100" fmla="*/ 9118 w 10000"/>
                  <a:gd name="connsiteY100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000 w 10007"/>
                  <a:gd name="connsiteY95" fmla="*/ 9002 h 10294"/>
                  <a:gd name="connsiteX96" fmla="*/ 1470 w 10007"/>
                  <a:gd name="connsiteY96" fmla="*/ 9426 h 10294"/>
                  <a:gd name="connsiteX97" fmla="*/ 6233 w 10007"/>
                  <a:gd name="connsiteY97" fmla="*/ 10294 h 10294"/>
                  <a:gd name="connsiteX98" fmla="*/ 8636 w 10007"/>
                  <a:gd name="connsiteY98" fmla="*/ 9231 h 10294"/>
                  <a:gd name="connsiteX99" fmla="*/ 9125 w 10007"/>
                  <a:gd name="connsiteY99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491 w 10007"/>
                  <a:gd name="connsiteY85" fmla="*/ 8838 h 10294"/>
                  <a:gd name="connsiteX86" fmla="*/ 615 w 10007"/>
                  <a:gd name="connsiteY86" fmla="*/ 8657 h 10294"/>
                  <a:gd name="connsiteX87" fmla="*/ 824 w 10007"/>
                  <a:gd name="connsiteY87" fmla="*/ 8657 h 10294"/>
                  <a:gd name="connsiteX88" fmla="*/ 677 w 10007"/>
                  <a:gd name="connsiteY88" fmla="*/ 8486 h 10294"/>
                  <a:gd name="connsiteX89" fmla="*/ 250 w 10007"/>
                  <a:gd name="connsiteY89" fmla="*/ 8269 h 10294"/>
                  <a:gd name="connsiteX90" fmla="*/ 1354 w 10007"/>
                  <a:gd name="connsiteY90" fmla="*/ 9184 h 10294"/>
                  <a:gd name="connsiteX91" fmla="*/ 1110 w 10007"/>
                  <a:gd name="connsiteY91" fmla="*/ 9282 h 10294"/>
                  <a:gd name="connsiteX92" fmla="*/ 519 w 10007"/>
                  <a:gd name="connsiteY92" fmla="*/ 8684 h 10294"/>
                  <a:gd name="connsiteX93" fmla="*/ 7 w 10007"/>
                  <a:gd name="connsiteY93" fmla="*/ 7088 h 10294"/>
                  <a:gd name="connsiteX94" fmla="*/ 912 w 10007"/>
                  <a:gd name="connsiteY94" fmla="*/ 8758 h 10294"/>
                  <a:gd name="connsiteX95" fmla="*/ 1470 w 10007"/>
                  <a:gd name="connsiteY95" fmla="*/ 9426 h 10294"/>
                  <a:gd name="connsiteX96" fmla="*/ 6233 w 10007"/>
                  <a:gd name="connsiteY96" fmla="*/ 10294 h 10294"/>
                  <a:gd name="connsiteX97" fmla="*/ 8636 w 10007"/>
                  <a:gd name="connsiteY97" fmla="*/ 9231 h 10294"/>
                  <a:gd name="connsiteX98" fmla="*/ 9125 w 10007"/>
                  <a:gd name="connsiteY98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912 w 10007"/>
                  <a:gd name="connsiteY93" fmla="*/ 8758 h 10294"/>
                  <a:gd name="connsiteX94" fmla="*/ 1470 w 10007"/>
                  <a:gd name="connsiteY94" fmla="*/ 9426 h 10294"/>
                  <a:gd name="connsiteX95" fmla="*/ 6233 w 10007"/>
                  <a:gd name="connsiteY95" fmla="*/ 10294 h 10294"/>
                  <a:gd name="connsiteX96" fmla="*/ 8636 w 10007"/>
                  <a:gd name="connsiteY96" fmla="*/ 9231 h 10294"/>
                  <a:gd name="connsiteX97" fmla="*/ 9125 w 10007"/>
                  <a:gd name="connsiteY97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824 w 10007"/>
                  <a:gd name="connsiteY86" fmla="*/ 8657 h 10294"/>
                  <a:gd name="connsiteX87" fmla="*/ 677 w 10007"/>
                  <a:gd name="connsiteY87" fmla="*/ 8486 h 10294"/>
                  <a:gd name="connsiteX88" fmla="*/ 250 w 10007"/>
                  <a:gd name="connsiteY88" fmla="*/ 8269 h 10294"/>
                  <a:gd name="connsiteX89" fmla="*/ 1354 w 10007"/>
                  <a:gd name="connsiteY89" fmla="*/ 9184 h 10294"/>
                  <a:gd name="connsiteX90" fmla="*/ 1110 w 10007"/>
                  <a:gd name="connsiteY90" fmla="*/ 9282 h 10294"/>
                  <a:gd name="connsiteX91" fmla="*/ 519 w 10007"/>
                  <a:gd name="connsiteY91" fmla="*/ 8684 h 10294"/>
                  <a:gd name="connsiteX92" fmla="*/ 7 w 10007"/>
                  <a:gd name="connsiteY92" fmla="*/ 7088 h 10294"/>
                  <a:gd name="connsiteX93" fmla="*/ 1470 w 10007"/>
                  <a:gd name="connsiteY93" fmla="*/ 9426 h 10294"/>
                  <a:gd name="connsiteX94" fmla="*/ 6233 w 10007"/>
                  <a:gd name="connsiteY94" fmla="*/ 10294 h 10294"/>
                  <a:gd name="connsiteX95" fmla="*/ 8636 w 10007"/>
                  <a:gd name="connsiteY95" fmla="*/ 9231 h 10294"/>
                  <a:gd name="connsiteX96" fmla="*/ 9125 w 10007"/>
                  <a:gd name="connsiteY96" fmla="*/ 8935 h 10294"/>
                  <a:gd name="connsiteX0" fmla="*/ 9125 w 10007"/>
                  <a:gd name="connsiteY0" fmla="*/ 8935 h 10294"/>
                  <a:gd name="connsiteX1" fmla="*/ 10007 w 10007"/>
                  <a:gd name="connsiteY1" fmla="*/ 7381 h 10294"/>
                  <a:gd name="connsiteX2" fmla="*/ 9180 w 10007"/>
                  <a:gd name="connsiteY2" fmla="*/ 7381 h 10294"/>
                  <a:gd name="connsiteX3" fmla="*/ 9180 w 10007"/>
                  <a:gd name="connsiteY3" fmla="*/ 4128 h 10294"/>
                  <a:gd name="connsiteX4" fmla="*/ 7140 w 10007"/>
                  <a:gd name="connsiteY4" fmla="*/ 4128 h 10294"/>
                  <a:gd name="connsiteX5" fmla="*/ 7140 w 10007"/>
                  <a:gd name="connsiteY5" fmla="*/ 3816 h 10294"/>
                  <a:gd name="connsiteX6" fmla="*/ 8771 w 10007"/>
                  <a:gd name="connsiteY6" fmla="*/ 3816 h 10294"/>
                  <a:gd name="connsiteX7" fmla="*/ 8771 w 10007"/>
                  <a:gd name="connsiteY7" fmla="*/ 3498 h 10294"/>
                  <a:gd name="connsiteX8" fmla="*/ 7140 w 10007"/>
                  <a:gd name="connsiteY8" fmla="*/ 3498 h 10294"/>
                  <a:gd name="connsiteX9" fmla="*/ 7140 w 10007"/>
                  <a:gd name="connsiteY9" fmla="*/ 1365 h 10294"/>
                  <a:gd name="connsiteX10" fmla="*/ 4740 w 10007"/>
                  <a:gd name="connsiteY10" fmla="*/ 550 h 10294"/>
                  <a:gd name="connsiteX11" fmla="*/ 4740 w 10007"/>
                  <a:gd name="connsiteY11" fmla="*/ 5672 h 10294"/>
                  <a:gd name="connsiteX12" fmla="*/ 4360 w 10007"/>
                  <a:gd name="connsiteY12" fmla="*/ 5678 h 10294"/>
                  <a:gd name="connsiteX13" fmla="*/ 4360 w 10007"/>
                  <a:gd name="connsiteY13" fmla="*/ 1756 h 10294"/>
                  <a:gd name="connsiteX14" fmla="*/ 3553 w 10007"/>
                  <a:gd name="connsiteY14" fmla="*/ 2061 h 10294"/>
                  <a:gd name="connsiteX15" fmla="*/ 3117 w 10007"/>
                  <a:gd name="connsiteY15" fmla="*/ 2061 h 10294"/>
                  <a:gd name="connsiteX16" fmla="*/ 3117 w 10007"/>
                  <a:gd name="connsiteY16" fmla="*/ 0 h 10294"/>
                  <a:gd name="connsiteX17" fmla="*/ 2956 w 10007"/>
                  <a:gd name="connsiteY17" fmla="*/ 0 h 10294"/>
                  <a:gd name="connsiteX18" fmla="*/ 2956 w 10007"/>
                  <a:gd name="connsiteY18" fmla="*/ 2061 h 10294"/>
                  <a:gd name="connsiteX19" fmla="*/ 2586 w 10007"/>
                  <a:gd name="connsiteY19" fmla="*/ 2061 h 10294"/>
                  <a:gd name="connsiteX20" fmla="*/ 2586 w 10007"/>
                  <a:gd name="connsiteY20" fmla="*/ 2492 h 10294"/>
                  <a:gd name="connsiteX21" fmla="*/ 1921 w 10007"/>
                  <a:gd name="connsiteY21" fmla="*/ 2815 h 10294"/>
                  <a:gd name="connsiteX22" fmla="*/ 1921 w 10007"/>
                  <a:gd name="connsiteY22" fmla="*/ 4413 h 10294"/>
                  <a:gd name="connsiteX23" fmla="*/ 1565 w 10007"/>
                  <a:gd name="connsiteY23" fmla="*/ 4413 h 10294"/>
                  <a:gd name="connsiteX24" fmla="*/ 1565 w 10007"/>
                  <a:gd name="connsiteY24" fmla="*/ 4837 h 10294"/>
                  <a:gd name="connsiteX25" fmla="*/ 1921 w 10007"/>
                  <a:gd name="connsiteY25" fmla="*/ 4837 h 10294"/>
                  <a:gd name="connsiteX26" fmla="*/ 1921 w 10007"/>
                  <a:gd name="connsiteY26" fmla="*/ 5367 h 10294"/>
                  <a:gd name="connsiteX27" fmla="*/ 1565 w 10007"/>
                  <a:gd name="connsiteY27" fmla="*/ 5367 h 10294"/>
                  <a:gd name="connsiteX28" fmla="*/ 1565 w 10007"/>
                  <a:gd name="connsiteY28" fmla="*/ 5791 h 10294"/>
                  <a:gd name="connsiteX29" fmla="*/ 1921 w 10007"/>
                  <a:gd name="connsiteY29" fmla="*/ 5791 h 10294"/>
                  <a:gd name="connsiteX30" fmla="*/ 1921 w 10007"/>
                  <a:gd name="connsiteY30" fmla="*/ 7043 h 10294"/>
                  <a:gd name="connsiteX31" fmla="*/ 860 w 10007"/>
                  <a:gd name="connsiteY31" fmla="*/ 7043 h 10294"/>
                  <a:gd name="connsiteX32" fmla="*/ 860 w 10007"/>
                  <a:gd name="connsiteY32" fmla="*/ 7818 h 10294"/>
                  <a:gd name="connsiteX33" fmla="*/ 1404 w 10007"/>
                  <a:gd name="connsiteY33" fmla="*/ 7838 h 10294"/>
                  <a:gd name="connsiteX34" fmla="*/ 2141 w 10007"/>
                  <a:gd name="connsiteY34" fmla="*/ 7315 h 10294"/>
                  <a:gd name="connsiteX35" fmla="*/ 2135 w 10007"/>
                  <a:gd name="connsiteY35" fmla="*/ 7818 h 10294"/>
                  <a:gd name="connsiteX36" fmla="*/ 2814 w 10007"/>
                  <a:gd name="connsiteY36" fmla="*/ 7368 h 10294"/>
                  <a:gd name="connsiteX37" fmla="*/ 2814 w 10007"/>
                  <a:gd name="connsiteY37" fmla="*/ 7818 h 10294"/>
                  <a:gd name="connsiteX38" fmla="*/ 3485 w 10007"/>
                  <a:gd name="connsiteY38" fmla="*/ 7361 h 10294"/>
                  <a:gd name="connsiteX39" fmla="*/ 3491 w 10007"/>
                  <a:gd name="connsiteY39" fmla="*/ 7811 h 10294"/>
                  <a:gd name="connsiteX40" fmla="*/ 4137 w 10007"/>
                  <a:gd name="connsiteY40" fmla="*/ 7328 h 10294"/>
                  <a:gd name="connsiteX41" fmla="*/ 4137 w 10007"/>
                  <a:gd name="connsiteY41" fmla="*/ 8613 h 10294"/>
                  <a:gd name="connsiteX42" fmla="*/ 4212 w 10007"/>
                  <a:gd name="connsiteY42" fmla="*/ 8520 h 10294"/>
                  <a:gd name="connsiteX43" fmla="*/ 4285 w 10007"/>
                  <a:gd name="connsiteY43" fmla="*/ 8434 h 10294"/>
                  <a:gd name="connsiteX44" fmla="*/ 4375 w 10007"/>
                  <a:gd name="connsiteY44" fmla="*/ 8361 h 10294"/>
                  <a:gd name="connsiteX45" fmla="*/ 4474 w 10007"/>
                  <a:gd name="connsiteY45" fmla="*/ 8295 h 10294"/>
                  <a:gd name="connsiteX46" fmla="*/ 4574 w 10007"/>
                  <a:gd name="connsiteY46" fmla="*/ 8249 h 10294"/>
                  <a:gd name="connsiteX47" fmla="*/ 4681 w 10007"/>
                  <a:gd name="connsiteY47" fmla="*/ 8215 h 10294"/>
                  <a:gd name="connsiteX48" fmla="*/ 4793 w 10007"/>
                  <a:gd name="connsiteY48" fmla="*/ 8189 h 10294"/>
                  <a:gd name="connsiteX49" fmla="*/ 4922 w 10007"/>
                  <a:gd name="connsiteY49" fmla="*/ 8182 h 10294"/>
                  <a:gd name="connsiteX50" fmla="*/ 5098 w 10007"/>
                  <a:gd name="connsiteY50" fmla="*/ 8195 h 10294"/>
                  <a:gd name="connsiteX51" fmla="*/ 5273 w 10007"/>
                  <a:gd name="connsiteY51" fmla="*/ 8242 h 10294"/>
                  <a:gd name="connsiteX52" fmla="*/ 5413 w 10007"/>
                  <a:gd name="connsiteY52" fmla="*/ 8321 h 10294"/>
                  <a:gd name="connsiteX53" fmla="*/ 5556 w 10007"/>
                  <a:gd name="connsiteY53" fmla="*/ 8421 h 10294"/>
                  <a:gd name="connsiteX54" fmla="*/ 5677 w 10007"/>
                  <a:gd name="connsiteY54" fmla="*/ 8540 h 10294"/>
                  <a:gd name="connsiteX55" fmla="*/ 5757 w 10007"/>
                  <a:gd name="connsiteY55" fmla="*/ 8686 h 10294"/>
                  <a:gd name="connsiteX56" fmla="*/ 5831 w 10007"/>
                  <a:gd name="connsiteY56" fmla="*/ 8838 h 10294"/>
                  <a:gd name="connsiteX57" fmla="*/ 5856 w 10007"/>
                  <a:gd name="connsiteY57" fmla="*/ 9004 h 10294"/>
                  <a:gd name="connsiteX58" fmla="*/ 5890 w 10007"/>
                  <a:gd name="connsiteY58" fmla="*/ 8997 h 10294"/>
                  <a:gd name="connsiteX59" fmla="*/ 5917 w 10007"/>
                  <a:gd name="connsiteY59" fmla="*/ 8997 h 10294"/>
                  <a:gd name="connsiteX60" fmla="*/ 5944 w 10007"/>
                  <a:gd name="connsiteY60" fmla="*/ 8991 h 10294"/>
                  <a:gd name="connsiteX61" fmla="*/ 5970 w 10007"/>
                  <a:gd name="connsiteY61" fmla="*/ 8991 h 10294"/>
                  <a:gd name="connsiteX62" fmla="*/ 6004 w 10007"/>
                  <a:gd name="connsiteY62" fmla="*/ 8984 h 10294"/>
                  <a:gd name="connsiteX63" fmla="*/ 6036 w 10007"/>
                  <a:gd name="connsiteY63" fmla="*/ 8984 h 10294"/>
                  <a:gd name="connsiteX64" fmla="*/ 6064 w 10007"/>
                  <a:gd name="connsiteY64" fmla="*/ 8984 h 10294"/>
                  <a:gd name="connsiteX65" fmla="*/ 6099 w 10007"/>
                  <a:gd name="connsiteY65" fmla="*/ 8984 h 10294"/>
                  <a:gd name="connsiteX66" fmla="*/ 6239 w 10007"/>
                  <a:gd name="connsiteY66" fmla="*/ 8991 h 10294"/>
                  <a:gd name="connsiteX67" fmla="*/ 6367 w 10007"/>
                  <a:gd name="connsiteY67" fmla="*/ 9024 h 10294"/>
                  <a:gd name="connsiteX68" fmla="*/ 6494 w 10007"/>
                  <a:gd name="connsiteY68" fmla="*/ 9070 h 10294"/>
                  <a:gd name="connsiteX69" fmla="*/ 6610 w 10007"/>
                  <a:gd name="connsiteY69" fmla="*/ 9137 h 10294"/>
                  <a:gd name="connsiteX70" fmla="*/ 6716 w 10007"/>
                  <a:gd name="connsiteY70" fmla="*/ 9216 h 10294"/>
                  <a:gd name="connsiteX71" fmla="*/ 6811 w 10007"/>
                  <a:gd name="connsiteY71" fmla="*/ 9302 h 10294"/>
                  <a:gd name="connsiteX72" fmla="*/ 6886 w 10007"/>
                  <a:gd name="connsiteY72" fmla="*/ 9415 h 10294"/>
                  <a:gd name="connsiteX73" fmla="*/ 6953 w 10007"/>
                  <a:gd name="connsiteY73" fmla="*/ 9527 h 10294"/>
                  <a:gd name="connsiteX74" fmla="*/ 3117 w 10007"/>
                  <a:gd name="connsiteY74" fmla="*/ 9527 h 10294"/>
                  <a:gd name="connsiteX75" fmla="*/ 3156 w 10007"/>
                  <a:gd name="connsiteY75" fmla="*/ 9441 h 10294"/>
                  <a:gd name="connsiteX76" fmla="*/ 3210 w 10007"/>
                  <a:gd name="connsiteY76" fmla="*/ 9355 h 10294"/>
                  <a:gd name="connsiteX77" fmla="*/ 3265 w 10007"/>
                  <a:gd name="connsiteY77" fmla="*/ 9289 h 10294"/>
                  <a:gd name="connsiteX78" fmla="*/ 3336 w 10007"/>
                  <a:gd name="connsiteY78" fmla="*/ 9223 h 10294"/>
                  <a:gd name="connsiteX79" fmla="*/ 3404 w 10007"/>
                  <a:gd name="connsiteY79" fmla="*/ 9170 h 10294"/>
                  <a:gd name="connsiteX80" fmla="*/ 3485 w 10007"/>
                  <a:gd name="connsiteY80" fmla="*/ 9117 h 10294"/>
                  <a:gd name="connsiteX81" fmla="*/ 3566 w 10007"/>
                  <a:gd name="connsiteY81" fmla="*/ 9077 h 10294"/>
                  <a:gd name="connsiteX82" fmla="*/ 3661 w 10007"/>
                  <a:gd name="connsiteY82" fmla="*/ 9044 h 10294"/>
                  <a:gd name="connsiteX83" fmla="*/ 3661 w 10007"/>
                  <a:gd name="connsiteY83" fmla="*/ 8195 h 10294"/>
                  <a:gd name="connsiteX84" fmla="*/ 491 w 10007"/>
                  <a:gd name="connsiteY84" fmla="*/ 8209 h 10294"/>
                  <a:gd name="connsiteX85" fmla="*/ 615 w 10007"/>
                  <a:gd name="connsiteY85" fmla="*/ 8657 h 10294"/>
                  <a:gd name="connsiteX86" fmla="*/ 677 w 10007"/>
                  <a:gd name="connsiteY86" fmla="*/ 8486 h 10294"/>
                  <a:gd name="connsiteX87" fmla="*/ 250 w 10007"/>
                  <a:gd name="connsiteY87" fmla="*/ 8269 h 10294"/>
                  <a:gd name="connsiteX88" fmla="*/ 1354 w 10007"/>
                  <a:gd name="connsiteY88" fmla="*/ 9184 h 10294"/>
                  <a:gd name="connsiteX89" fmla="*/ 1110 w 10007"/>
                  <a:gd name="connsiteY89" fmla="*/ 9282 h 10294"/>
                  <a:gd name="connsiteX90" fmla="*/ 519 w 10007"/>
                  <a:gd name="connsiteY90" fmla="*/ 8684 h 10294"/>
                  <a:gd name="connsiteX91" fmla="*/ 7 w 10007"/>
                  <a:gd name="connsiteY91" fmla="*/ 7088 h 10294"/>
                  <a:gd name="connsiteX92" fmla="*/ 1470 w 10007"/>
                  <a:gd name="connsiteY92" fmla="*/ 9426 h 10294"/>
                  <a:gd name="connsiteX93" fmla="*/ 6233 w 10007"/>
                  <a:gd name="connsiteY93" fmla="*/ 10294 h 10294"/>
                  <a:gd name="connsiteX94" fmla="*/ 8636 w 10007"/>
                  <a:gd name="connsiteY94" fmla="*/ 9231 h 10294"/>
                  <a:gd name="connsiteX95" fmla="*/ 9125 w 10007"/>
                  <a:gd name="connsiteY95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673 w 10003"/>
                  <a:gd name="connsiteY86" fmla="*/ 8486 h 10294"/>
                  <a:gd name="connsiteX87" fmla="*/ 246 w 10003"/>
                  <a:gd name="connsiteY87" fmla="*/ 8269 h 10294"/>
                  <a:gd name="connsiteX88" fmla="*/ 1350 w 10003"/>
                  <a:gd name="connsiteY88" fmla="*/ 9184 h 10294"/>
                  <a:gd name="connsiteX89" fmla="*/ 1106 w 10003"/>
                  <a:gd name="connsiteY89" fmla="*/ 9282 h 10294"/>
                  <a:gd name="connsiteX90" fmla="*/ 3 w 10003"/>
                  <a:gd name="connsiteY90" fmla="*/ 7088 h 10294"/>
                  <a:gd name="connsiteX91" fmla="*/ 1466 w 10003"/>
                  <a:gd name="connsiteY91" fmla="*/ 9426 h 10294"/>
                  <a:gd name="connsiteX92" fmla="*/ 6229 w 10003"/>
                  <a:gd name="connsiteY92" fmla="*/ 10294 h 10294"/>
                  <a:gd name="connsiteX93" fmla="*/ 8632 w 10003"/>
                  <a:gd name="connsiteY93" fmla="*/ 9231 h 10294"/>
                  <a:gd name="connsiteX94" fmla="*/ 9121 w 10003"/>
                  <a:gd name="connsiteY94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611 w 10003"/>
                  <a:gd name="connsiteY85" fmla="*/ 8657 h 10294"/>
                  <a:gd name="connsiteX86" fmla="*/ 246 w 10003"/>
                  <a:gd name="connsiteY86" fmla="*/ 8269 h 10294"/>
                  <a:gd name="connsiteX87" fmla="*/ 1350 w 10003"/>
                  <a:gd name="connsiteY87" fmla="*/ 9184 h 10294"/>
                  <a:gd name="connsiteX88" fmla="*/ 1106 w 10003"/>
                  <a:gd name="connsiteY88" fmla="*/ 9282 h 10294"/>
                  <a:gd name="connsiteX89" fmla="*/ 3 w 10003"/>
                  <a:gd name="connsiteY89" fmla="*/ 7088 h 10294"/>
                  <a:gd name="connsiteX90" fmla="*/ 1466 w 10003"/>
                  <a:gd name="connsiteY90" fmla="*/ 9426 h 10294"/>
                  <a:gd name="connsiteX91" fmla="*/ 6229 w 10003"/>
                  <a:gd name="connsiteY91" fmla="*/ 10294 h 10294"/>
                  <a:gd name="connsiteX92" fmla="*/ 8632 w 10003"/>
                  <a:gd name="connsiteY92" fmla="*/ 9231 h 10294"/>
                  <a:gd name="connsiteX93" fmla="*/ 9121 w 10003"/>
                  <a:gd name="connsiteY93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246 w 10003"/>
                  <a:gd name="connsiteY85" fmla="*/ 8269 h 10294"/>
                  <a:gd name="connsiteX86" fmla="*/ 1350 w 10003"/>
                  <a:gd name="connsiteY86" fmla="*/ 9184 h 10294"/>
                  <a:gd name="connsiteX87" fmla="*/ 1106 w 10003"/>
                  <a:gd name="connsiteY87" fmla="*/ 9282 h 10294"/>
                  <a:gd name="connsiteX88" fmla="*/ 3 w 10003"/>
                  <a:gd name="connsiteY88" fmla="*/ 7088 h 10294"/>
                  <a:gd name="connsiteX89" fmla="*/ 1466 w 10003"/>
                  <a:gd name="connsiteY89" fmla="*/ 9426 h 10294"/>
                  <a:gd name="connsiteX90" fmla="*/ 6229 w 10003"/>
                  <a:gd name="connsiteY90" fmla="*/ 10294 h 10294"/>
                  <a:gd name="connsiteX91" fmla="*/ 8632 w 10003"/>
                  <a:gd name="connsiteY91" fmla="*/ 9231 h 10294"/>
                  <a:gd name="connsiteX92" fmla="*/ 9121 w 10003"/>
                  <a:gd name="connsiteY92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487 w 10003"/>
                  <a:gd name="connsiteY84" fmla="*/ 8209 h 10294"/>
                  <a:gd name="connsiteX85" fmla="*/ 1350 w 10003"/>
                  <a:gd name="connsiteY85" fmla="*/ 9184 h 10294"/>
                  <a:gd name="connsiteX86" fmla="*/ 1106 w 10003"/>
                  <a:gd name="connsiteY86" fmla="*/ 9282 h 10294"/>
                  <a:gd name="connsiteX87" fmla="*/ 3 w 10003"/>
                  <a:gd name="connsiteY87" fmla="*/ 7088 h 10294"/>
                  <a:gd name="connsiteX88" fmla="*/ 1466 w 10003"/>
                  <a:gd name="connsiteY88" fmla="*/ 9426 h 10294"/>
                  <a:gd name="connsiteX89" fmla="*/ 6229 w 10003"/>
                  <a:gd name="connsiteY89" fmla="*/ 10294 h 10294"/>
                  <a:gd name="connsiteX90" fmla="*/ 8632 w 10003"/>
                  <a:gd name="connsiteY90" fmla="*/ 9231 h 10294"/>
                  <a:gd name="connsiteX91" fmla="*/ 9121 w 10003"/>
                  <a:gd name="connsiteY91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466 w 10003"/>
                  <a:gd name="connsiteY87" fmla="*/ 9426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106 w 10003"/>
                  <a:gd name="connsiteY85" fmla="*/ 9282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350 w 10003"/>
                  <a:gd name="connsiteY84" fmla="*/ 9184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927 w 10003"/>
                  <a:gd name="connsiteY84" fmla="*/ 8475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1 w 10003"/>
                  <a:gd name="connsiteY0" fmla="*/ 8935 h 10294"/>
                  <a:gd name="connsiteX1" fmla="*/ 10003 w 10003"/>
                  <a:gd name="connsiteY1" fmla="*/ 7381 h 10294"/>
                  <a:gd name="connsiteX2" fmla="*/ 9176 w 10003"/>
                  <a:gd name="connsiteY2" fmla="*/ 7381 h 10294"/>
                  <a:gd name="connsiteX3" fmla="*/ 9176 w 10003"/>
                  <a:gd name="connsiteY3" fmla="*/ 4128 h 10294"/>
                  <a:gd name="connsiteX4" fmla="*/ 7136 w 10003"/>
                  <a:gd name="connsiteY4" fmla="*/ 4128 h 10294"/>
                  <a:gd name="connsiteX5" fmla="*/ 7136 w 10003"/>
                  <a:gd name="connsiteY5" fmla="*/ 3816 h 10294"/>
                  <a:gd name="connsiteX6" fmla="*/ 8767 w 10003"/>
                  <a:gd name="connsiteY6" fmla="*/ 3816 h 10294"/>
                  <a:gd name="connsiteX7" fmla="*/ 8767 w 10003"/>
                  <a:gd name="connsiteY7" fmla="*/ 3498 h 10294"/>
                  <a:gd name="connsiteX8" fmla="*/ 7136 w 10003"/>
                  <a:gd name="connsiteY8" fmla="*/ 3498 h 10294"/>
                  <a:gd name="connsiteX9" fmla="*/ 7136 w 10003"/>
                  <a:gd name="connsiteY9" fmla="*/ 1365 h 10294"/>
                  <a:gd name="connsiteX10" fmla="*/ 4736 w 10003"/>
                  <a:gd name="connsiteY10" fmla="*/ 550 h 10294"/>
                  <a:gd name="connsiteX11" fmla="*/ 4736 w 10003"/>
                  <a:gd name="connsiteY11" fmla="*/ 5672 h 10294"/>
                  <a:gd name="connsiteX12" fmla="*/ 4356 w 10003"/>
                  <a:gd name="connsiteY12" fmla="*/ 5678 h 10294"/>
                  <a:gd name="connsiteX13" fmla="*/ 4356 w 10003"/>
                  <a:gd name="connsiteY13" fmla="*/ 1756 h 10294"/>
                  <a:gd name="connsiteX14" fmla="*/ 3549 w 10003"/>
                  <a:gd name="connsiteY14" fmla="*/ 2061 h 10294"/>
                  <a:gd name="connsiteX15" fmla="*/ 3113 w 10003"/>
                  <a:gd name="connsiteY15" fmla="*/ 2061 h 10294"/>
                  <a:gd name="connsiteX16" fmla="*/ 3113 w 10003"/>
                  <a:gd name="connsiteY16" fmla="*/ 0 h 10294"/>
                  <a:gd name="connsiteX17" fmla="*/ 2952 w 10003"/>
                  <a:gd name="connsiteY17" fmla="*/ 0 h 10294"/>
                  <a:gd name="connsiteX18" fmla="*/ 2952 w 10003"/>
                  <a:gd name="connsiteY18" fmla="*/ 2061 h 10294"/>
                  <a:gd name="connsiteX19" fmla="*/ 2582 w 10003"/>
                  <a:gd name="connsiteY19" fmla="*/ 2061 h 10294"/>
                  <a:gd name="connsiteX20" fmla="*/ 2582 w 10003"/>
                  <a:gd name="connsiteY20" fmla="*/ 2492 h 10294"/>
                  <a:gd name="connsiteX21" fmla="*/ 1917 w 10003"/>
                  <a:gd name="connsiteY21" fmla="*/ 2815 h 10294"/>
                  <a:gd name="connsiteX22" fmla="*/ 1917 w 10003"/>
                  <a:gd name="connsiteY22" fmla="*/ 4413 h 10294"/>
                  <a:gd name="connsiteX23" fmla="*/ 1561 w 10003"/>
                  <a:gd name="connsiteY23" fmla="*/ 4413 h 10294"/>
                  <a:gd name="connsiteX24" fmla="*/ 1561 w 10003"/>
                  <a:gd name="connsiteY24" fmla="*/ 4837 h 10294"/>
                  <a:gd name="connsiteX25" fmla="*/ 1917 w 10003"/>
                  <a:gd name="connsiteY25" fmla="*/ 4837 h 10294"/>
                  <a:gd name="connsiteX26" fmla="*/ 1917 w 10003"/>
                  <a:gd name="connsiteY26" fmla="*/ 5367 h 10294"/>
                  <a:gd name="connsiteX27" fmla="*/ 1561 w 10003"/>
                  <a:gd name="connsiteY27" fmla="*/ 5367 h 10294"/>
                  <a:gd name="connsiteX28" fmla="*/ 1561 w 10003"/>
                  <a:gd name="connsiteY28" fmla="*/ 5791 h 10294"/>
                  <a:gd name="connsiteX29" fmla="*/ 1917 w 10003"/>
                  <a:gd name="connsiteY29" fmla="*/ 5791 h 10294"/>
                  <a:gd name="connsiteX30" fmla="*/ 1917 w 10003"/>
                  <a:gd name="connsiteY30" fmla="*/ 7043 h 10294"/>
                  <a:gd name="connsiteX31" fmla="*/ 856 w 10003"/>
                  <a:gd name="connsiteY31" fmla="*/ 7043 h 10294"/>
                  <a:gd name="connsiteX32" fmla="*/ 856 w 10003"/>
                  <a:gd name="connsiteY32" fmla="*/ 7818 h 10294"/>
                  <a:gd name="connsiteX33" fmla="*/ 1400 w 10003"/>
                  <a:gd name="connsiteY33" fmla="*/ 7838 h 10294"/>
                  <a:gd name="connsiteX34" fmla="*/ 2137 w 10003"/>
                  <a:gd name="connsiteY34" fmla="*/ 7315 h 10294"/>
                  <a:gd name="connsiteX35" fmla="*/ 2131 w 10003"/>
                  <a:gd name="connsiteY35" fmla="*/ 7818 h 10294"/>
                  <a:gd name="connsiteX36" fmla="*/ 2810 w 10003"/>
                  <a:gd name="connsiteY36" fmla="*/ 7368 h 10294"/>
                  <a:gd name="connsiteX37" fmla="*/ 2810 w 10003"/>
                  <a:gd name="connsiteY37" fmla="*/ 7818 h 10294"/>
                  <a:gd name="connsiteX38" fmla="*/ 3481 w 10003"/>
                  <a:gd name="connsiteY38" fmla="*/ 7361 h 10294"/>
                  <a:gd name="connsiteX39" fmla="*/ 3487 w 10003"/>
                  <a:gd name="connsiteY39" fmla="*/ 7811 h 10294"/>
                  <a:gd name="connsiteX40" fmla="*/ 4133 w 10003"/>
                  <a:gd name="connsiteY40" fmla="*/ 7328 h 10294"/>
                  <a:gd name="connsiteX41" fmla="*/ 4133 w 10003"/>
                  <a:gd name="connsiteY41" fmla="*/ 8613 h 10294"/>
                  <a:gd name="connsiteX42" fmla="*/ 4208 w 10003"/>
                  <a:gd name="connsiteY42" fmla="*/ 8520 h 10294"/>
                  <a:gd name="connsiteX43" fmla="*/ 4281 w 10003"/>
                  <a:gd name="connsiteY43" fmla="*/ 8434 h 10294"/>
                  <a:gd name="connsiteX44" fmla="*/ 4371 w 10003"/>
                  <a:gd name="connsiteY44" fmla="*/ 8361 h 10294"/>
                  <a:gd name="connsiteX45" fmla="*/ 4470 w 10003"/>
                  <a:gd name="connsiteY45" fmla="*/ 8295 h 10294"/>
                  <a:gd name="connsiteX46" fmla="*/ 4570 w 10003"/>
                  <a:gd name="connsiteY46" fmla="*/ 8249 h 10294"/>
                  <a:gd name="connsiteX47" fmla="*/ 4677 w 10003"/>
                  <a:gd name="connsiteY47" fmla="*/ 8215 h 10294"/>
                  <a:gd name="connsiteX48" fmla="*/ 4789 w 10003"/>
                  <a:gd name="connsiteY48" fmla="*/ 8189 h 10294"/>
                  <a:gd name="connsiteX49" fmla="*/ 4918 w 10003"/>
                  <a:gd name="connsiteY49" fmla="*/ 8182 h 10294"/>
                  <a:gd name="connsiteX50" fmla="*/ 5094 w 10003"/>
                  <a:gd name="connsiteY50" fmla="*/ 8195 h 10294"/>
                  <a:gd name="connsiteX51" fmla="*/ 5269 w 10003"/>
                  <a:gd name="connsiteY51" fmla="*/ 8242 h 10294"/>
                  <a:gd name="connsiteX52" fmla="*/ 5409 w 10003"/>
                  <a:gd name="connsiteY52" fmla="*/ 8321 h 10294"/>
                  <a:gd name="connsiteX53" fmla="*/ 5552 w 10003"/>
                  <a:gd name="connsiteY53" fmla="*/ 8421 h 10294"/>
                  <a:gd name="connsiteX54" fmla="*/ 5673 w 10003"/>
                  <a:gd name="connsiteY54" fmla="*/ 8540 h 10294"/>
                  <a:gd name="connsiteX55" fmla="*/ 5753 w 10003"/>
                  <a:gd name="connsiteY55" fmla="*/ 8686 h 10294"/>
                  <a:gd name="connsiteX56" fmla="*/ 5827 w 10003"/>
                  <a:gd name="connsiteY56" fmla="*/ 8838 h 10294"/>
                  <a:gd name="connsiteX57" fmla="*/ 5852 w 10003"/>
                  <a:gd name="connsiteY57" fmla="*/ 9004 h 10294"/>
                  <a:gd name="connsiteX58" fmla="*/ 5886 w 10003"/>
                  <a:gd name="connsiteY58" fmla="*/ 8997 h 10294"/>
                  <a:gd name="connsiteX59" fmla="*/ 5913 w 10003"/>
                  <a:gd name="connsiteY59" fmla="*/ 8997 h 10294"/>
                  <a:gd name="connsiteX60" fmla="*/ 5940 w 10003"/>
                  <a:gd name="connsiteY60" fmla="*/ 8991 h 10294"/>
                  <a:gd name="connsiteX61" fmla="*/ 5966 w 10003"/>
                  <a:gd name="connsiteY61" fmla="*/ 8991 h 10294"/>
                  <a:gd name="connsiteX62" fmla="*/ 6000 w 10003"/>
                  <a:gd name="connsiteY62" fmla="*/ 8984 h 10294"/>
                  <a:gd name="connsiteX63" fmla="*/ 6032 w 10003"/>
                  <a:gd name="connsiteY63" fmla="*/ 8984 h 10294"/>
                  <a:gd name="connsiteX64" fmla="*/ 6060 w 10003"/>
                  <a:gd name="connsiteY64" fmla="*/ 8984 h 10294"/>
                  <a:gd name="connsiteX65" fmla="*/ 6095 w 10003"/>
                  <a:gd name="connsiteY65" fmla="*/ 8984 h 10294"/>
                  <a:gd name="connsiteX66" fmla="*/ 6235 w 10003"/>
                  <a:gd name="connsiteY66" fmla="*/ 8991 h 10294"/>
                  <a:gd name="connsiteX67" fmla="*/ 6363 w 10003"/>
                  <a:gd name="connsiteY67" fmla="*/ 9024 h 10294"/>
                  <a:gd name="connsiteX68" fmla="*/ 6490 w 10003"/>
                  <a:gd name="connsiteY68" fmla="*/ 9070 h 10294"/>
                  <a:gd name="connsiteX69" fmla="*/ 6606 w 10003"/>
                  <a:gd name="connsiteY69" fmla="*/ 9137 h 10294"/>
                  <a:gd name="connsiteX70" fmla="*/ 6712 w 10003"/>
                  <a:gd name="connsiteY70" fmla="*/ 9216 h 10294"/>
                  <a:gd name="connsiteX71" fmla="*/ 6807 w 10003"/>
                  <a:gd name="connsiteY71" fmla="*/ 9302 h 10294"/>
                  <a:gd name="connsiteX72" fmla="*/ 6882 w 10003"/>
                  <a:gd name="connsiteY72" fmla="*/ 9415 h 10294"/>
                  <a:gd name="connsiteX73" fmla="*/ 6949 w 10003"/>
                  <a:gd name="connsiteY73" fmla="*/ 9527 h 10294"/>
                  <a:gd name="connsiteX74" fmla="*/ 3113 w 10003"/>
                  <a:gd name="connsiteY74" fmla="*/ 9527 h 10294"/>
                  <a:gd name="connsiteX75" fmla="*/ 3152 w 10003"/>
                  <a:gd name="connsiteY75" fmla="*/ 9441 h 10294"/>
                  <a:gd name="connsiteX76" fmla="*/ 3206 w 10003"/>
                  <a:gd name="connsiteY76" fmla="*/ 9355 h 10294"/>
                  <a:gd name="connsiteX77" fmla="*/ 3261 w 10003"/>
                  <a:gd name="connsiteY77" fmla="*/ 9289 h 10294"/>
                  <a:gd name="connsiteX78" fmla="*/ 3332 w 10003"/>
                  <a:gd name="connsiteY78" fmla="*/ 9223 h 10294"/>
                  <a:gd name="connsiteX79" fmla="*/ 3400 w 10003"/>
                  <a:gd name="connsiteY79" fmla="*/ 9170 h 10294"/>
                  <a:gd name="connsiteX80" fmla="*/ 3481 w 10003"/>
                  <a:gd name="connsiteY80" fmla="*/ 9117 h 10294"/>
                  <a:gd name="connsiteX81" fmla="*/ 3562 w 10003"/>
                  <a:gd name="connsiteY81" fmla="*/ 9077 h 10294"/>
                  <a:gd name="connsiteX82" fmla="*/ 3657 w 10003"/>
                  <a:gd name="connsiteY82" fmla="*/ 9044 h 10294"/>
                  <a:gd name="connsiteX83" fmla="*/ 3657 w 10003"/>
                  <a:gd name="connsiteY83" fmla="*/ 8195 h 10294"/>
                  <a:gd name="connsiteX84" fmla="*/ 1542 w 10003"/>
                  <a:gd name="connsiteY84" fmla="*/ 8282 h 10294"/>
                  <a:gd name="connsiteX85" fmla="*/ 1362 w 10003"/>
                  <a:gd name="connsiteY85" fmla="*/ 8379 h 10294"/>
                  <a:gd name="connsiteX86" fmla="*/ 3 w 10003"/>
                  <a:gd name="connsiteY86" fmla="*/ 7088 h 10294"/>
                  <a:gd name="connsiteX87" fmla="*/ 1851 w 10003"/>
                  <a:gd name="connsiteY87" fmla="*/ 9877 h 10294"/>
                  <a:gd name="connsiteX88" fmla="*/ 6229 w 10003"/>
                  <a:gd name="connsiteY88" fmla="*/ 10294 h 10294"/>
                  <a:gd name="connsiteX89" fmla="*/ 8632 w 10003"/>
                  <a:gd name="connsiteY89" fmla="*/ 9231 h 10294"/>
                  <a:gd name="connsiteX90" fmla="*/ 9121 w 10003"/>
                  <a:gd name="connsiteY90" fmla="*/ 8935 h 10294"/>
                  <a:gd name="connsiteX0" fmla="*/ 9120 w 10002"/>
                  <a:gd name="connsiteY0" fmla="*/ 8935 h 10294"/>
                  <a:gd name="connsiteX1" fmla="*/ 10002 w 10002"/>
                  <a:gd name="connsiteY1" fmla="*/ 7381 h 10294"/>
                  <a:gd name="connsiteX2" fmla="*/ 9175 w 10002"/>
                  <a:gd name="connsiteY2" fmla="*/ 7381 h 10294"/>
                  <a:gd name="connsiteX3" fmla="*/ 9175 w 10002"/>
                  <a:gd name="connsiteY3" fmla="*/ 4128 h 10294"/>
                  <a:gd name="connsiteX4" fmla="*/ 7135 w 10002"/>
                  <a:gd name="connsiteY4" fmla="*/ 4128 h 10294"/>
                  <a:gd name="connsiteX5" fmla="*/ 7135 w 10002"/>
                  <a:gd name="connsiteY5" fmla="*/ 3816 h 10294"/>
                  <a:gd name="connsiteX6" fmla="*/ 8766 w 10002"/>
                  <a:gd name="connsiteY6" fmla="*/ 3816 h 10294"/>
                  <a:gd name="connsiteX7" fmla="*/ 8766 w 10002"/>
                  <a:gd name="connsiteY7" fmla="*/ 3498 h 10294"/>
                  <a:gd name="connsiteX8" fmla="*/ 7135 w 10002"/>
                  <a:gd name="connsiteY8" fmla="*/ 3498 h 10294"/>
                  <a:gd name="connsiteX9" fmla="*/ 7135 w 10002"/>
                  <a:gd name="connsiteY9" fmla="*/ 1365 h 10294"/>
                  <a:gd name="connsiteX10" fmla="*/ 4735 w 10002"/>
                  <a:gd name="connsiteY10" fmla="*/ 550 h 10294"/>
                  <a:gd name="connsiteX11" fmla="*/ 4735 w 10002"/>
                  <a:gd name="connsiteY11" fmla="*/ 5672 h 10294"/>
                  <a:gd name="connsiteX12" fmla="*/ 4355 w 10002"/>
                  <a:gd name="connsiteY12" fmla="*/ 5678 h 10294"/>
                  <a:gd name="connsiteX13" fmla="*/ 4355 w 10002"/>
                  <a:gd name="connsiteY13" fmla="*/ 1756 h 10294"/>
                  <a:gd name="connsiteX14" fmla="*/ 3548 w 10002"/>
                  <a:gd name="connsiteY14" fmla="*/ 2061 h 10294"/>
                  <a:gd name="connsiteX15" fmla="*/ 3112 w 10002"/>
                  <a:gd name="connsiteY15" fmla="*/ 2061 h 10294"/>
                  <a:gd name="connsiteX16" fmla="*/ 3112 w 10002"/>
                  <a:gd name="connsiteY16" fmla="*/ 0 h 10294"/>
                  <a:gd name="connsiteX17" fmla="*/ 2951 w 10002"/>
                  <a:gd name="connsiteY17" fmla="*/ 0 h 10294"/>
                  <a:gd name="connsiteX18" fmla="*/ 2951 w 10002"/>
                  <a:gd name="connsiteY18" fmla="*/ 2061 h 10294"/>
                  <a:gd name="connsiteX19" fmla="*/ 2581 w 10002"/>
                  <a:gd name="connsiteY19" fmla="*/ 2061 h 10294"/>
                  <a:gd name="connsiteX20" fmla="*/ 2581 w 10002"/>
                  <a:gd name="connsiteY20" fmla="*/ 2492 h 10294"/>
                  <a:gd name="connsiteX21" fmla="*/ 1916 w 10002"/>
                  <a:gd name="connsiteY21" fmla="*/ 2815 h 10294"/>
                  <a:gd name="connsiteX22" fmla="*/ 1916 w 10002"/>
                  <a:gd name="connsiteY22" fmla="*/ 4413 h 10294"/>
                  <a:gd name="connsiteX23" fmla="*/ 1560 w 10002"/>
                  <a:gd name="connsiteY23" fmla="*/ 4413 h 10294"/>
                  <a:gd name="connsiteX24" fmla="*/ 1560 w 10002"/>
                  <a:gd name="connsiteY24" fmla="*/ 4837 h 10294"/>
                  <a:gd name="connsiteX25" fmla="*/ 1916 w 10002"/>
                  <a:gd name="connsiteY25" fmla="*/ 4837 h 10294"/>
                  <a:gd name="connsiteX26" fmla="*/ 1916 w 10002"/>
                  <a:gd name="connsiteY26" fmla="*/ 5367 h 10294"/>
                  <a:gd name="connsiteX27" fmla="*/ 1560 w 10002"/>
                  <a:gd name="connsiteY27" fmla="*/ 5367 h 10294"/>
                  <a:gd name="connsiteX28" fmla="*/ 1560 w 10002"/>
                  <a:gd name="connsiteY28" fmla="*/ 5791 h 10294"/>
                  <a:gd name="connsiteX29" fmla="*/ 1916 w 10002"/>
                  <a:gd name="connsiteY29" fmla="*/ 5791 h 10294"/>
                  <a:gd name="connsiteX30" fmla="*/ 1916 w 10002"/>
                  <a:gd name="connsiteY30" fmla="*/ 7043 h 10294"/>
                  <a:gd name="connsiteX31" fmla="*/ 855 w 10002"/>
                  <a:gd name="connsiteY31" fmla="*/ 7043 h 10294"/>
                  <a:gd name="connsiteX32" fmla="*/ 855 w 10002"/>
                  <a:gd name="connsiteY32" fmla="*/ 7818 h 10294"/>
                  <a:gd name="connsiteX33" fmla="*/ 1399 w 10002"/>
                  <a:gd name="connsiteY33" fmla="*/ 7838 h 10294"/>
                  <a:gd name="connsiteX34" fmla="*/ 2136 w 10002"/>
                  <a:gd name="connsiteY34" fmla="*/ 7315 h 10294"/>
                  <a:gd name="connsiteX35" fmla="*/ 2130 w 10002"/>
                  <a:gd name="connsiteY35" fmla="*/ 7818 h 10294"/>
                  <a:gd name="connsiteX36" fmla="*/ 2809 w 10002"/>
                  <a:gd name="connsiteY36" fmla="*/ 7368 h 10294"/>
                  <a:gd name="connsiteX37" fmla="*/ 2809 w 10002"/>
                  <a:gd name="connsiteY37" fmla="*/ 7818 h 10294"/>
                  <a:gd name="connsiteX38" fmla="*/ 3480 w 10002"/>
                  <a:gd name="connsiteY38" fmla="*/ 7361 h 10294"/>
                  <a:gd name="connsiteX39" fmla="*/ 3486 w 10002"/>
                  <a:gd name="connsiteY39" fmla="*/ 7811 h 10294"/>
                  <a:gd name="connsiteX40" fmla="*/ 4132 w 10002"/>
                  <a:gd name="connsiteY40" fmla="*/ 7328 h 10294"/>
                  <a:gd name="connsiteX41" fmla="*/ 4132 w 10002"/>
                  <a:gd name="connsiteY41" fmla="*/ 8613 h 10294"/>
                  <a:gd name="connsiteX42" fmla="*/ 4207 w 10002"/>
                  <a:gd name="connsiteY42" fmla="*/ 8520 h 10294"/>
                  <a:gd name="connsiteX43" fmla="*/ 4280 w 10002"/>
                  <a:gd name="connsiteY43" fmla="*/ 8434 h 10294"/>
                  <a:gd name="connsiteX44" fmla="*/ 4370 w 10002"/>
                  <a:gd name="connsiteY44" fmla="*/ 8361 h 10294"/>
                  <a:gd name="connsiteX45" fmla="*/ 4469 w 10002"/>
                  <a:gd name="connsiteY45" fmla="*/ 8295 h 10294"/>
                  <a:gd name="connsiteX46" fmla="*/ 4569 w 10002"/>
                  <a:gd name="connsiteY46" fmla="*/ 8249 h 10294"/>
                  <a:gd name="connsiteX47" fmla="*/ 4676 w 10002"/>
                  <a:gd name="connsiteY47" fmla="*/ 8215 h 10294"/>
                  <a:gd name="connsiteX48" fmla="*/ 4788 w 10002"/>
                  <a:gd name="connsiteY48" fmla="*/ 8189 h 10294"/>
                  <a:gd name="connsiteX49" fmla="*/ 4917 w 10002"/>
                  <a:gd name="connsiteY49" fmla="*/ 8182 h 10294"/>
                  <a:gd name="connsiteX50" fmla="*/ 5093 w 10002"/>
                  <a:gd name="connsiteY50" fmla="*/ 8195 h 10294"/>
                  <a:gd name="connsiteX51" fmla="*/ 5268 w 10002"/>
                  <a:gd name="connsiteY51" fmla="*/ 8242 h 10294"/>
                  <a:gd name="connsiteX52" fmla="*/ 5408 w 10002"/>
                  <a:gd name="connsiteY52" fmla="*/ 8321 h 10294"/>
                  <a:gd name="connsiteX53" fmla="*/ 5551 w 10002"/>
                  <a:gd name="connsiteY53" fmla="*/ 8421 h 10294"/>
                  <a:gd name="connsiteX54" fmla="*/ 5672 w 10002"/>
                  <a:gd name="connsiteY54" fmla="*/ 8540 h 10294"/>
                  <a:gd name="connsiteX55" fmla="*/ 5752 w 10002"/>
                  <a:gd name="connsiteY55" fmla="*/ 8686 h 10294"/>
                  <a:gd name="connsiteX56" fmla="*/ 5826 w 10002"/>
                  <a:gd name="connsiteY56" fmla="*/ 8838 h 10294"/>
                  <a:gd name="connsiteX57" fmla="*/ 5851 w 10002"/>
                  <a:gd name="connsiteY57" fmla="*/ 9004 h 10294"/>
                  <a:gd name="connsiteX58" fmla="*/ 5885 w 10002"/>
                  <a:gd name="connsiteY58" fmla="*/ 8997 h 10294"/>
                  <a:gd name="connsiteX59" fmla="*/ 5912 w 10002"/>
                  <a:gd name="connsiteY59" fmla="*/ 8997 h 10294"/>
                  <a:gd name="connsiteX60" fmla="*/ 5939 w 10002"/>
                  <a:gd name="connsiteY60" fmla="*/ 8991 h 10294"/>
                  <a:gd name="connsiteX61" fmla="*/ 5965 w 10002"/>
                  <a:gd name="connsiteY61" fmla="*/ 8991 h 10294"/>
                  <a:gd name="connsiteX62" fmla="*/ 5999 w 10002"/>
                  <a:gd name="connsiteY62" fmla="*/ 8984 h 10294"/>
                  <a:gd name="connsiteX63" fmla="*/ 6031 w 10002"/>
                  <a:gd name="connsiteY63" fmla="*/ 8984 h 10294"/>
                  <a:gd name="connsiteX64" fmla="*/ 6059 w 10002"/>
                  <a:gd name="connsiteY64" fmla="*/ 8984 h 10294"/>
                  <a:gd name="connsiteX65" fmla="*/ 6094 w 10002"/>
                  <a:gd name="connsiteY65" fmla="*/ 8984 h 10294"/>
                  <a:gd name="connsiteX66" fmla="*/ 6234 w 10002"/>
                  <a:gd name="connsiteY66" fmla="*/ 8991 h 10294"/>
                  <a:gd name="connsiteX67" fmla="*/ 6362 w 10002"/>
                  <a:gd name="connsiteY67" fmla="*/ 9024 h 10294"/>
                  <a:gd name="connsiteX68" fmla="*/ 6489 w 10002"/>
                  <a:gd name="connsiteY68" fmla="*/ 9070 h 10294"/>
                  <a:gd name="connsiteX69" fmla="*/ 6605 w 10002"/>
                  <a:gd name="connsiteY69" fmla="*/ 9137 h 10294"/>
                  <a:gd name="connsiteX70" fmla="*/ 6711 w 10002"/>
                  <a:gd name="connsiteY70" fmla="*/ 9216 h 10294"/>
                  <a:gd name="connsiteX71" fmla="*/ 6806 w 10002"/>
                  <a:gd name="connsiteY71" fmla="*/ 9302 h 10294"/>
                  <a:gd name="connsiteX72" fmla="*/ 6881 w 10002"/>
                  <a:gd name="connsiteY72" fmla="*/ 9415 h 10294"/>
                  <a:gd name="connsiteX73" fmla="*/ 6948 w 10002"/>
                  <a:gd name="connsiteY73" fmla="*/ 9527 h 10294"/>
                  <a:gd name="connsiteX74" fmla="*/ 3112 w 10002"/>
                  <a:gd name="connsiteY74" fmla="*/ 9527 h 10294"/>
                  <a:gd name="connsiteX75" fmla="*/ 3151 w 10002"/>
                  <a:gd name="connsiteY75" fmla="*/ 9441 h 10294"/>
                  <a:gd name="connsiteX76" fmla="*/ 3205 w 10002"/>
                  <a:gd name="connsiteY76" fmla="*/ 9355 h 10294"/>
                  <a:gd name="connsiteX77" fmla="*/ 3260 w 10002"/>
                  <a:gd name="connsiteY77" fmla="*/ 9289 h 10294"/>
                  <a:gd name="connsiteX78" fmla="*/ 3331 w 10002"/>
                  <a:gd name="connsiteY78" fmla="*/ 9223 h 10294"/>
                  <a:gd name="connsiteX79" fmla="*/ 3399 w 10002"/>
                  <a:gd name="connsiteY79" fmla="*/ 9170 h 10294"/>
                  <a:gd name="connsiteX80" fmla="*/ 3480 w 10002"/>
                  <a:gd name="connsiteY80" fmla="*/ 9117 h 10294"/>
                  <a:gd name="connsiteX81" fmla="*/ 3561 w 10002"/>
                  <a:gd name="connsiteY81" fmla="*/ 9077 h 10294"/>
                  <a:gd name="connsiteX82" fmla="*/ 3656 w 10002"/>
                  <a:gd name="connsiteY82" fmla="*/ 9044 h 10294"/>
                  <a:gd name="connsiteX83" fmla="*/ 3656 w 10002"/>
                  <a:gd name="connsiteY83" fmla="*/ 8195 h 10294"/>
                  <a:gd name="connsiteX84" fmla="*/ 1541 w 10002"/>
                  <a:gd name="connsiteY84" fmla="*/ 8282 h 10294"/>
                  <a:gd name="connsiteX85" fmla="*/ 2 w 10002"/>
                  <a:gd name="connsiteY85" fmla="*/ 7088 h 10294"/>
                  <a:gd name="connsiteX86" fmla="*/ 1850 w 10002"/>
                  <a:gd name="connsiteY86" fmla="*/ 9877 h 10294"/>
                  <a:gd name="connsiteX87" fmla="*/ 6228 w 10002"/>
                  <a:gd name="connsiteY87" fmla="*/ 10294 h 10294"/>
                  <a:gd name="connsiteX88" fmla="*/ 8631 w 10002"/>
                  <a:gd name="connsiteY88" fmla="*/ 9231 h 10294"/>
                  <a:gd name="connsiteX89" fmla="*/ 9120 w 10002"/>
                  <a:gd name="connsiteY89" fmla="*/ 8935 h 10294"/>
                  <a:gd name="connsiteX0" fmla="*/ 9120 w 10002"/>
                  <a:gd name="connsiteY0" fmla="*/ 8935 h 10474"/>
                  <a:gd name="connsiteX1" fmla="*/ 10002 w 10002"/>
                  <a:gd name="connsiteY1" fmla="*/ 7381 h 10474"/>
                  <a:gd name="connsiteX2" fmla="*/ 9175 w 10002"/>
                  <a:gd name="connsiteY2" fmla="*/ 7381 h 10474"/>
                  <a:gd name="connsiteX3" fmla="*/ 9175 w 10002"/>
                  <a:gd name="connsiteY3" fmla="*/ 4128 h 10474"/>
                  <a:gd name="connsiteX4" fmla="*/ 7135 w 10002"/>
                  <a:gd name="connsiteY4" fmla="*/ 4128 h 10474"/>
                  <a:gd name="connsiteX5" fmla="*/ 7135 w 10002"/>
                  <a:gd name="connsiteY5" fmla="*/ 3816 h 10474"/>
                  <a:gd name="connsiteX6" fmla="*/ 8766 w 10002"/>
                  <a:gd name="connsiteY6" fmla="*/ 3816 h 10474"/>
                  <a:gd name="connsiteX7" fmla="*/ 8766 w 10002"/>
                  <a:gd name="connsiteY7" fmla="*/ 3498 h 10474"/>
                  <a:gd name="connsiteX8" fmla="*/ 7135 w 10002"/>
                  <a:gd name="connsiteY8" fmla="*/ 3498 h 10474"/>
                  <a:gd name="connsiteX9" fmla="*/ 7135 w 10002"/>
                  <a:gd name="connsiteY9" fmla="*/ 1365 h 10474"/>
                  <a:gd name="connsiteX10" fmla="*/ 4735 w 10002"/>
                  <a:gd name="connsiteY10" fmla="*/ 550 h 10474"/>
                  <a:gd name="connsiteX11" fmla="*/ 4735 w 10002"/>
                  <a:gd name="connsiteY11" fmla="*/ 5672 h 10474"/>
                  <a:gd name="connsiteX12" fmla="*/ 4355 w 10002"/>
                  <a:gd name="connsiteY12" fmla="*/ 5678 h 10474"/>
                  <a:gd name="connsiteX13" fmla="*/ 4355 w 10002"/>
                  <a:gd name="connsiteY13" fmla="*/ 1756 h 10474"/>
                  <a:gd name="connsiteX14" fmla="*/ 3548 w 10002"/>
                  <a:gd name="connsiteY14" fmla="*/ 2061 h 10474"/>
                  <a:gd name="connsiteX15" fmla="*/ 3112 w 10002"/>
                  <a:gd name="connsiteY15" fmla="*/ 2061 h 10474"/>
                  <a:gd name="connsiteX16" fmla="*/ 3112 w 10002"/>
                  <a:gd name="connsiteY16" fmla="*/ 0 h 10474"/>
                  <a:gd name="connsiteX17" fmla="*/ 2951 w 10002"/>
                  <a:gd name="connsiteY17" fmla="*/ 0 h 10474"/>
                  <a:gd name="connsiteX18" fmla="*/ 2951 w 10002"/>
                  <a:gd name="connsiteY18" fmla="*/ 2061 h 10474"/>
                  <a:gd name="connsiteX19" fmla="*/ 2581 w 10002"/>
                  <a:gd name="connsiteY19" fmla="*/ 2061 h 10474"/>
                  <a:gd name="connsiteX20" fmla="*/ 2581 w 10002"/>
                  <a:gd name="connsiteY20" fmla="*/ 2492 h 10474"/>
                  <a:gd name="connsiteX21" fmla="*/ 1916 w 10002"/>
                  <a:gd name="connsiteY21" fmla="*/ 2815 h 10474"/>
                  <a:gd name="connsiteX22" fmla="*/ 1916 w 10002"/>
                  <a:gd name="connsiteY22" fmla="*/ 4413 h 10474"/>
                  <a:gd name="connsiteX23" fmla="*/ 1560 w 10002"/>
                  <a:gd name="connsiteY23" fmla="*/ 4413 h 10474"/>
                  <a:gd name="connsiteX24" fmla="*/ 1560 w 10002"/>
                  <a:gd name="connsiteY24" fmla="*/ 4837 h 10474"/>
                  <a:gd name="connsiteX25" fmla="*/ 1916 w 10002"/>
                  <a:gd name="connsiteY25" fmla="*/ 4837 h 10474"/>
                  <a:gd name="connsiteX26" fmla="*/ 1916 w 10002"/>
                  <a:gd name="connsiteY26" fmla="*/ 5367 h 10474"/>
                  <a:gd name="connsiteX27" fmla="*/ 1560 w 10002"/>
                  <a:gd name="connsiteY27" fmla="*/ 5367 h 10474"/>
                  <a:gd name="connsiteX28" fmla="*/ 1560 w 10002"/>
                  <a:gd name="connsiteY28" fmla="*/ 5791 h 10474"/>
                  <a:gd name="connsiteX29" fmla="*/ 1916 w 10002"/>
                  <a:gd name="connsiteY29" fmla="*/ 5791 h 10474"/>
                  <a:gd name="connsiteX30" fmla="*/ 1916 w 10002"/>
                  <a:gd name="connsiteY30" fmla="*/ 7043 h 10474"/>
                  <a:gd name="connsiteX31" fmla="*/ 855 w 10002"/>
                  <a:gd name="connsiteY31" fmla="*/ 7043 h 10474"/>
                  <a:gd name="connsiteX32" fmla="*/ 855 w 10002"/>
                  <a:gd name="connsiteY32" fmla="*/ 7818 h 10474"/>
                  <a:gd name="connsiteX33" fmla="*/ 1399 w 10002"/>
                  <a:gd name="connsiteY33" fmla="*/ 7838 h 10474"/>
                  <a:gd name="connsiteX34" fmla="*/ 2136 w 10002"/>
                  <a:gd name="connsiteY34" fmla="*/ 7315 h 10474"/>
                  <a:gd name="connsiteX35" fmla="*/ 2130 w 10002"/>
                  <a:gd name="connsiteY35" fmla="*/ 7818 h 10474"/>
                  <a:gd name="connsiteX36" fmla="*/ 2809 w 10002"/>
                  <a:gd name="connsiteY36" fmla="*/ 7368 h 10474"/>
                  <a:gd name="connsiteX37" fmla="*/ 2809 w 10002"/>
                  <a:gd name="connsiteY37" fmla="*/ 7818 h 10474"/>
                  <a:gd name="connsiteX38" fmla="*/ 3480 w 10002"/>
                  <a:gd name="connsiteY38" fmla="*/ 7361 h 10474"/>
                  <a:gd name="connsiteX39" fmla="*/ 3486 w 10002"/>
                  <a:gd name="connsiteY39" fmla="*/ 7811 h 10474"/>
                  <a:gd name="connsiteX40" fmla="*/ 4132 w 10002"/>
                  <a:gd name="connsiteY40" fmla="*/ 7328 h 10474"/>
                  <a:gd name="connsiteX41" fmla="*/ 4132 w 10002"/>
                  <a:gd name="connsiteY41" fmla="*/ 8613 h 10474"/>
                  <a:gd name="connsiteX42" fmla="*/ 4207 w 10002"/>
                  <a:gd name="connsiteY42" fmla="*/ 8520 h 10474"/>
                  <a:gd name="connsiteX43" fmla="*/ 4280 w 10002"/>
                  <a:gd name="connsiteY43" fmla="*/ 8434 h 10474"/>
                  <a:gd name="connsiteX44" fmla="*/ 4370 w 10002"/>
                  <a:gd name="connsiteY44" fmla="*/ 8361 h 10474"/>
                  <a:gd name="connsiteX45" fmla="*/ 4469 w 10002"/>
                  <a:gd name="connsiteY45" fmla="*/ 8295 h 10474"/>
                  <a:gd name="connsiteX46" fmla="*/ 4569 w 10002"/>
                  <a:gd name="connsiteY46" fmla="*/ 8249 h 10474"/>
                  <a:gd name="connsiteX47" fmla="*/ 4676 w 10002"/>
                  <a:gd name="connsiteY47" fmla="*/ 8215 h 10474"/>
                  <a:gd name="connsiteX48" fmla="*/ 4788 w 10002"/>
                  <a:gd name="connsiteY48" fmla="*/ 8189 h 10474"/>
                  <a:gd name="connsiteX49" fmla="*/ 4917 w 10002"/>
                  <a:gd name="connsiteY49" fmla="*/ 8182 h 10474"/>
                  <a:gd name="connsiteX50" fmla="*/ 5093 w 10002"/>
                  <a:gd name="connsiteY50" fmla="*/ 8195 h 10474"/>
                  <a:gd name="connsiteX51" fmla="*/ 5268 w 10002"/>
                  <a:gd name="connsiteY51" fmla="*/ 8242 h 10474"/>
                  <a:gd name="connsiteX52" fmla="*/ 5408 w 10002"/>
                  <a:gd name="connsiteY52" fmla="*/ 8321 h 10474"/>
                  <a:gd name="connsiteX53" fmla="*/ 5551 w 10002"/>
                  <a:gd name="connsiteY53" fmla="*/ 8421 h 10474"/>
                  <a:gd name="connsiteX54" fmla="*/ 5672 w 10002"/>
                  <a:gd name="connsiteY54" fmla="*/ 8540 h 10474"/>
                  <a:gd name="connsiteX55" fmla="*/ 5752 w 10002"/>
                  <a:gd name="connsiteY55" fmla="*/ 8686 h 10474"/>
                  <a:gd name="connsiteX56" fmla="*/ 5826 w 10002"/>
                  <a:gd name="connsiteY56" fmla="*/ 8838 h 10474"/>
                  <a:gd name="connsiteX57" fmla="*/ 5851 w 10002"/>
                  <a:gd name="connsiteY57" fmla="*/ 9004 h 10474"/>
                  <a:gd name="connsiteX58" fmla="*/ 5885 w 10002"/>
                  <a:gd name="connsiteY58" fmla="*/ 8997 h 10474"/>
                  <a:gd name="connsiteX59" fmla="*/ 5912 w 10002"/>
                  <a:gd name="connsiteY59" fmla="*/ 8997 h 10474"/>
                  <a:gd name="connsiteX60" fmla="*/ 5939 w 10002"/>
                  <a:gd name="connsiteY60" fmla="*/ 8991 h 10474"/>
                  <a:gd name="connsiteX61" fmla="*/ 5965 w 10002"/>
                  <a:gd name="connsiteY61" fmla="*/ 8991 h 10474"/>
                  <a:gd name="connsiteX62" fmla="*/ 5999 w 10002"/>
                  <a:gd name="connsiteY62" fmla="*/ 8984 h 10474"/>
                  <a:gd name="connsiteX63" fmla="*/ 6031 w 10002"/>
                  <a:gd name="connsiteY63" fmla="*/ 8984 h 10474"/>
                  <a:gd name="connsiteX64" fmla="*/ 6059 w 10002"/>
                  <a:gd name="connsiteY64" fmla="*/ 8984 h 10474"/>
                  <a:gd name="connsiteX65" fmla="*/ 6094 w 10002"/>
                  <a:gd name="connsiteY65" fmla="*/ 8984 h 10474"/>
                  <a:gd name="connsiteX66" fmla="*/ 6234 w 10002"/>
                  <a:gd name="connsiteY66" fmla="*/ 8991 h 10474"/>
                  <a:gd name="connsiteX67" fmla="*/ 6362 w 10002"/>
                  <a:gd name="connsiteY67" fmla="*/ 9024 h 10474"/>
                  <a:gd name="connsiteX68" fmla="*/ 6489 w 10002"/>
                  <a:gd name="connsiteY68" fmla="*/ 9070 h 10474"/>
                  <a:gd name="connsiteX69" fmla="*/ 6605 w 10002"/>
                  <a:gd name="connsiteY69" fmla="*/ 9137 h 10474"/>
                  <a:gd name="connsiteX70" fmla="*/ 6711 w 10002"/>
                  <a:gd name="connsiteY70" fmla="*/ 9216 h 10474"/>
                  <a:gd name="connsiteX71" fmla="*/ 6806 w 10002"/>
                  <a:gd name="connsiteY71" fmla="*/ 9302 h 10474"/>
                  <a:gd name="connsiteX72" fmla="*/ 6881 w 10002"/>
                  <a:gd name="connsiteY72" fmla="*/ 9415 h 10474"/>
                  <a:gd name="connsiteX73" fmla="*/ 6948 w 10002"/>
                  <a:gd name="connsiteY73" fmla="*/ 9527 h 10474"/>
                  <a:gd name="connsiteX74" fmla="*/ 3112 w 10002"/>
                  <a:gd name="connsiteY74" fmla="*/ 9527 h 10474"/>
                  <a:gd name="connsiteX75" fmla="*/ 3151 w 10002"/>
                  <a:gd name="connsiteY75" fmla="*/ 9441 h 10474"/>
                  <a:gd name="connsiteX76" fmla="*/ 3205 w 10002"/>
                  <a:gd name="connsiteY76" fmla="*/ 9355 h 10474"/>
                  <a:gd name="connsiteX77" fmla="*/ 3260 w 10002"/>
                  <a:gd name="connsiteY77" fmla="*/ 9289 h 10474"/>
                  <a:gd name="connsiteX78" fmla="*/ 3331 w 10002"/>
                  <a:gd name="connsiteY78" fmla="*/ 9223 h 10474"/>
                  <a:gd name="connsiteX79" fmla="*/ 3399 w 10002"/>
                  <a:gd name="connsiteY79" fmla="*/ 9170 h 10474"/>
                  <a:gd name="connsiteX80" fmla="*/ 3480 w 10002"/>
                  <a:gd name="connsiteY80" fmla="*/ 9117 h 10474"/>
                  <a:gd name="connsiteX81" fmla="*/ 3561 w 10002"/>
                  <a:gd name="connsiteY81" fmla="*/ 9077 h 10474"/>
                  <a:gd name="connsiteX82" fmla="*/ 3656 w 10002"/>
                  <a:gd name="connsiteY82" fmla="*/ 9044 h 10474"/>
                  <a:gd name="connsiteX83" fmla="*/ 3656 w 10002"/>
                  <a:gd name="connsiteY83" fmla="*/ 8195 h 10474"/>
                  <a:gd name="connsiteX84" fmla="*/ 1541 w 10002"/>
                  <a:gd name="connsiteY84" fmla="*/ 8282 h 10474"/>
                  <a:gd name="connsiteX85" fmla="*/ 2 w 10002"/>
                  <a:gd name="connsiteY85" fmla="*/ 7088 h 10474"/>
                  <a:gd name="connsiteX86" fmla="*/ 1850 w 10002"/>
                  <a:gd name="connsiteY86" fmla="*/ 9877 h 10474"/>
                  <a:gd name="connsiteX87" fmla="*/ 6228 w 10002"/>
                  <a:gd name="connsiteY87" fmla="*/ 10294 h 10474"/>
                  <a:gd name="connsiteX88" fmla="*/ 8631 w 10002"/>
                  <a:gd name="connsiteY88" fmla="*/ 9231 h 10474"/>
                  <a:gd name="connsiteX89" fmla="*/ 9120 w 10002"/>
                  <a:gd name="connsiteY89" fmla="*/ 8935 h 10474"/>
                  <a:gd name="connsiteX0" fmla="*/ 9120 w 10002"/>
                  <a:gd name="connsiteY0" fmla="*/ 8935 h 10451"/>
                  <a:gd name="connsiteX1" fmla="*/ 10002 w 10002"/>
                  <a:gd name="connsiteY1" fmla="*/ 7381 h 10451"/>
                  <a:gd name="connsiteX2" fmla="*/ 9175 w 10002"/>
                  <a:gd name="connsiteY2" fmla="*/ 7381 h 10451"/>
                  <a:gd name="connsiteX3" fmla="*/ 9175 w 10002"/>
                  <a:gd name="connsiteY3" fmla="*/ 4128 h 10451"/>
                  <a:gd name="connsiteX4" fmla="*/ 7135 w 10002"/>
                  <a:gd name="connsiteY4" fmla="*/ 4128 h 10451"/>
                  <a:gd name="connsiteX5" fmla="*/ 7135 w 10002"/>
                  <a:gd name="connsiteY5" fmla="*/ 3816 h 10451"/>
                  <a:gd name="connsiteX6" fmla="*/ 8766 w 10002"/>
                  <a:gd name="connsiteY6" fmla="*/ 3816 h 10451"/>
                  <a:gd name="connsiteX7" fmla="*/ 8766 w 10002"/>
                  <a:gd name="connsiteY7" fmla="*/ 3498 h 10451"/>
                  <a:gd name="connsiteX8" fmla="*/ 7135 w 10002"/>
                  <a:gd name="connsiteY8" fmla="*/ 3498 h 10451"/>
                  <a:gd name="connsiteX9" fmla="*/ 7135 w 10002"/>
                  <a:gd name="connsiteY9" fmla="*/ 1365 h 10451"/>
                  <a:gd name="connsiteX10" fmla="*/ 4735 w 10002"/>
                  <a:gd name="connsiteY10" fmla="*/ 550 h 10451"/>
                  <a:gd name="connsiteX11" fmla="*/ 4735 w 10002"/>
                  <a:gd name="connsiteY11" fmla="*/ 5672 h 10451"/>
                  <a:gd name="connsiteX12" fmla="*/ 4355 w 10002"/>
                  <a:gd name="connsiteY12" fmla="*/ 5678 h 10451"/>
                  <a:gd name="connsiteX13" fmla="*/ 4355 w 10002"/>
                  <a:gd name="connsiteY13" fmla="*/ 1756 h 10451"/>
                  <a:gd name="connsiteX14" fmla="*/ 3548 w 10002"/>
                  <a:gd name="connsiteY14" fmla="*/ 2061 h 10451"/>
                  <a:gd name="connsiteX15" fmla="*/ 3112 w 10002"/>
                  <a:gd name="connsiteY15" fmla="*/ 2061 h 10451"/>
                  <a:gd name="connsiteX16" fmla="*/ 3112 w 10002"/>
                  <a:gd name="connsiteY16" fmla="*/ 0 h 10451"/>
                  <a:gd name="connsiteX17" fmla="*/ 2951 w 10002"/>
                  <a:gd name="connsiteY17" fmla="*/ 0 h 10451"/>
                  <a:gd name="connsiteX18" fmla="*/ 2951 w 10002"/>
                  <a:gd name="connsiteY18" fmla="*/ 2061 h 10451"/>
                  <a:gd name="connsiteX19" fmla="*/ 2581 w 10002"/>
                  <a:gd name="connsiteY19" fmla="*/ 2061 h 10451"/>
                  <a:gd name="connsiteX20" fmla="*/ 2581 w 10002"/>
                  <a:gd name="connsiteY20" fmla="*/ 2492 h 10451"/>
                  <a:gd name="connsiteX21" fmla="*/ 1916 w 10002"/>
                  <a:gd name="connsiteY21" fmla="*/ 2815 h 10451"/>
                  <a:gd name="connsiteX22" fmla="*/ 1916 w 10002"/>
                  <a:gd name="connsiteY22" fmla="*/ 4413 h 10451"/>
                  <a:gd name="connsiteX23" fmla="*/ 1560 w 10002"/>
                  <a:gd name="connsiteY23" fmla="*/ 4413 h 10451"/>
                  <a:gd name="connsiteX24" fmla="*/ 1560 w 10002"/>
                  <a:gd name="connsiteY24" fmla="*/ 4837 h 10451"/>
                  <a:gd name="connsiteX25" fmla="*/ 1916 w 10002"/>
                  <a:gd name="connsiteY25" fmla="*/ 4837 h 10451"/>
                  <a:gd name="connsiteX26" fmla="*/ 1916 w 10002"/>
                  <a:gd name="connsiteY26" fmla="*/ 5367 h 10451"/>
                  <a:gd name="connsiteX27" fmla="*/ 1560 w 10002"/>
                  <a:gd name="connsiteY27" fmla="*/ 5367 h 10451"/>
                  <a:gd name="connsiteX28" fmla="*/ 1560 w 10002"/>
                  <a:gd name="connsiteY28" fmla="*/ 5791 h 10451"/>
                  <a:gd name="connsiteX29" fmla="*/ 1916 w 10002"/>
                  <a:gd name="connsiteY29" fmla="*/ 5791 h 10451"/>
                  <a:gd name="connsiteX30" fmla="*/ 1916 w 10002"/>
                  <a:gd name="connsiteY30" fmla="*/ 7043 h 10451"/>
                  <a:gd name="connsiteX31" fmla="*/ 855 w 10002"/>
                  <a:gd name="connsiteY31" fmla="*/ 7043 h 10451"/>
                  <a:gd name="connsiteX32" fmla="*/ 855 w 10002"/>
                  <a:gd name="connsiteY32" fmla="*/ 7818 h 10451"/>
                  <a:gd name="connsiteX33" fmla="*/ 1399 w 10002"/>
                  <a:gd name="connsiteY33" fmla="*/ 7838 h 10451"/>
                  <a:gd name="connsiteX34" fmla="*/ 2136 w 10002"/>
                  <a:gd name="connsiteY34" fmla="*/ 7315 h 10451"/>
                  <a:gd name="connsiteX35" fmla="*/ 2130 w 10002"/>
                  <a:gd name="connsiteY35" fmla="*/ 7818 h 10451"/>
                  <a:gd name="connsiteX36" fmla="*/ 2809 w 10002"/>
                  <a:gd name="connsiteY36" fmla="*/ 7368 h 10451"/>
                  <a:gd name="connsiteX37" fmla="*/ 2809 w 10002"/>
                  <a:gd name="connsiteY37" fmla="*/ 7818 h 10451"/>
                  <a:gd name="connsiteX38" fmla="*/ 3480 w 10002"/>
                  <a:gd name="connsiteY38" fmla="*/ 7361 h 10451"/>
                  <a:gd name="connsiteX39" fmla="*/ 3486 w 10002"/>
                  <a:gd name="connsiteY39" fmla="*/ 7811 h 10451"/>
                  <a:gd name="connsiteX40" fmla="*/ 4132 w 10002"/>
                  <a:gd name="connsiteY40" fmla="*/ 7328 h 10451"/>
                  <a:gd name="connsiteX41" fmla="*/ 4132 w 10002"/>
                  <a:gd name="connsiteY41" fmla="*/ 8613 h 10451"/>
                  <a:gd name="connsiteX42" fmla="*/ 4207 w 10002"/>
                  <a:gd name="connsiteY42" fmla="*/ 8520 h 10451"/>
                  <a:gd name="connsiteX43" fmla="*/ 4280 w 10002"/>
                  <a:gd name="connsiteY43" fmla="*/ 8434 h 10451"/>
                  <a:gd name="connsiteX44" fmla="*/ 4370 w 10002"/>
                  <a:gd name="connsiteY44" fmla="*/ 8361 h 10451"/>
                  <a:gd name="connsiteX45" fmla="*/ 4469 w 10002"/>
                  <a:gd name="connsiteY45" fmla="*/ 8295 h 10451"/>
                  <a:gd name="connsiteX46" fmla="*/ 4569 w 10002"/>
                  <a:gd name="connsiteY46" fmla="*/ 8249 h 10451"/>
                  <a:gd name="connsiteX47" fmla="*/ 4676 w 10002"/>
                  <a:gd name="connsiteY47" fmla="*/ 8215 h 10451"/>
                  <a:gd name="connsiteX48" fmla="*/ 4788 w 10002"/>
                  <a:gd name="connsiteY48" fmla="*/ 8189 h 10451"/>
                  <a:gd name="connsiteX49" fmla="*/ 4917 w 10002"/>
                  <a:gd name="connsiteY49" fmla="*/ 8182 h 10451"/>
                  <a:gd name="connsiteX50" fmla="*/ 5093 w 10002"/>
                  <a:gd name="connsiteY50" fmla="*/ 8195 h 10451"/>
                  <a:gd name="connsiteX51" fmla="*/ 5268 w 10002"/>
                  <a:gd name="connsiteY51" fmla="*/ 8242 h 10451"/>
                  <a:gd name="connsiteX52" fmla="*/ 5408 w 10002"/>
                  <a:gd name="connsiteY52" fmla="*/ 8321 h 10451"/>
                  <a:gd name="connsiteX53" fmla="*/ 5551 w 10002"/>
                  <a:gd name="connsiteY53" fmla="*/ 8421 h 10451"/>
                  <a:gd name="connsiteX54" fmla="*/ 5672 w 10002"/>
                  <a:gd name="connsiteY54" fmla="*/ 8540 h 10451"/>
                  <a:gd name="connsiteX55" fmla="*/ 5752 w 10002"/>
                  <a:gd name="connsiteY55" fmla="*/ 8686 h 10451"/>
                  <a:gd name="connsiteX56" fmla="*/ 5826 w 10002"/>
                  <a:gd name="connsiteY56" fmla="*/ 8838 h 10451"/>
                  <a:gd name="connsiteX57" fmla="*/ 5851 w 10002"/>
                  <a:gd name="connsiteY57" fmla="*/ 9004 h 10451"/>
                  <a:gd name="connsiteX58" fmla="*/ 5885 w 10002"/>
                  <a:gd name="connsiteY58" fmla="*/ 8997 h 10451"/>
                  <a:gd name="connsiteX59" fmla="*/ 5912 w 10002"/>
                  <a:gd name="connsiteY59" fmla="*/ 8997 h 10451"/>
                  <a:gd name="connsiteX60" fmla="*/ 5939 w 10002"/>
                  <a:gd name="connsiteY60" fmla="*/ 8991 h 10451"/>
                  <a:gd name="connsiteX61" fmla="*/ 5965 w 10002"/>
                  <a:gd name="connsiteY61" fmla="*/ 8991 h 10451"/>
                  <a:gd name="connsiteX62" fmla="*/ 5999 w 10002"/>
                  <a:gd name="connsiteY62" fmla="*/ 8984 h 10451"/>
                  <a:gd name="connsiteX63" fmla="*/ 6031 w 10002"/>
                  <a:gd name="connsiteY63" fmla="*/ 8984 h 10451"/>
                  <a:gd name="connsiteX64" fmla="*/ 6059 w 10002"/>
                  <a:gd name="connsiteY64" fmla="*/ 8984 h 10451"/>
                  <a:gd name="connsiteX65" fmla="*/ 6094 w 10002"/>
                  <a:gd name="connsiteY65" fmla="*/ 8984 h 10451"/>
                  <a:gd name="connsiteX66" fmla="*/ 6234 w 10002"/>
                  <a:gd name="connsiteY66" fmla="*/ 8991 h 10451"/>
                  <a:gd name="connsiteX67" fmla="*/ 6362 w 10002"/>
                  <a:gd name="connsiteY67" fmla="*/ 9024 h 10451"/>
                  <a:gd name="connsiteX68" fmla="*/ 6489 w 10002"/>
                  <a:gd name="connsiteY68" fmla="*/ 9070 h 10451"/>
                  <a:gd name="connsiteX69" fmla="*/ 6605 w 10002"/>
                  <a:gd name="connsiteY69" fmla="*/ 9137 h 10451"/>
                  <a:gd name="connsiteX70" fmla="*/ 6711 w 10002"/>
                  <a:gd name="connsiteY70" fmla="*/ 9216 h 10451"/>
                  <a:gd name="connsiteX71" fmla="*/ 6806 w 10002"/>
                  <a:gd name="connsiteY71" fmla="*/ 9302 h 10451"/>
                  <a:gd name="connsiteX72" fmla="*/ 6881 w 10002"/>
                  <a:gd name="connsiteY72" fmla="*/ 9415 h 10451"/>
                  <a:gd name="connsiteX73" fmla="*/ 6948 w 10002"/>
                  <a:gd name="connsiteY73" fmla="*/ 9527 h 10451"/>
                  <a:gd name="connsiteX74" fmla="*/ 3112 w 10002"/>
                  <a:gd name="connsiteY74" fmla="*/ 9527 h 10451"/>
                  <a:gd name="connsiteX75" fmla="*/ 3151 w 10002"/>
                  <a:gd name="connsiteY75" fmla="*/ 9441 h 10451"/>
                  <a:gd name="connsiteX76" fmla="*/ 3205 w 10002"/>
                  <a:gd name="connsiteY76" fmla="*/ 9355 h 10451"/>
                  <a:gd name="connsiteX77" fmla="*/ 3260 w 10002"/>
                  <a:gd name="connsiteY77" fmla="*/ 9289 h 10451"/>
                  <a:gd name="connsiteX78" fmla="*/ 3331 w 10002"/>
                  <a:gd name="connsiteY78" fmla="*/ 9223 h 10451"/>
                  <a:gd name="connsiteX79" fmla="*/ 3399 w 10002"/>
                  <a:gd name="connsiteY79" fmla="*/ 9170 h 10451"/>
                  <a:gd name="connsiteX80" fmla="*/ 3480 w 10002"/>
                  <a:gd name="connsiteY80" fmla="*/ 9117 h 10451"/>
                  <a:gd name="connsiteX81" fmla="*/ 3561 w 10002"/>
                  <a:gd name="connsiteY81" fmla="*/ 9077 h 10451"/>
                  <a:gd name="connsiteX82" fmla="*/ 3656 w 10002"/>
                  <a:gd name="connsiteY82" fmla="*/ 9044 h 10451"/>
                  <a:gd name="connsiteX83" fmla="*/ 3656 w 10002"/>
                  <a:gd name="connsiteY83" fmla="*/ 8195 h 10451"/>
                  <a:gd name="connsiteX84" fmla="*/ 1541 w 10002"/>
                  <a:gd name="connsiteY84" fmla="*/ 8282 h 10451"/>
                  <a:gd name="connsiteX85" fmla="*/ 2 w 10002"/>
                  <a:gd name="connsiteY85" fmla="*/ 7088 h 10451"/>
                  <a:gd name="connsiteX86" fmla="*/ 1850 w 10002"/>
                  <a:gd name="connsiteY86" fmla="*/ 9877 h 10451"/>
                  <a:gd name="connsiteX87" fmla="*/ 6228 w 10002"/>
                  <a:gd name="connsiteY87" fmla="*/ 10294 h 10451"/>
                  <a:gd name="connsiteX88" fmla="*/ 8631 w 10002"/>
                  <a:gd name="connsiteY88" fmla="*/ 9231 h 10451"/>
                  <a:gd name="connsiteX89" fmla="*/ 9120 w 10002"/>
                  <a:gd name="connsiteY89" fmla="*/ 8935 h 10451"/>
                  <a:gd name="connsiteX0" fmla="*/ 9120 w 10002"/>
                  <a:gd name="connsiteY0" fmla="*/ 8935 h 10346"/>
                  <a:gd name="connsiteX1" fmla="*/ 10002 w 10002"/>
                  <a:gd name="connsiteY1" fmla="*/ 7381 h 10346"/>
                  <a:gd name="connsiteX2" fmla="*/ 9175 w 10002"/>
                  <a:gd name="connsiteY2" fmla="*/ 7381 h 10346"/>
                  <a:gd name="connsiteX3" fmla="*/ 9175 w 10002"/>
                  <a:gd name="connsiteY3" fmla="*/ 4128 h 10346"/>
                  <a:gd name="connsiteX4" fmla="*/ 7135 w 10002"/>
                  <a:gd name="connsiteY4" fmla="*/ 4128 h 10346"/>
                  <a:gd name="connsiteX5" fmla="*/ 7135 w 10002"/>
                  <a:gd name="connsiteY5" fmla="*/ 3816 h 10346"/>
                  <a:gd name="connsiteX6" fmla="*/ 8766 w 10002"/>
                  <a:gd name="connsiteY6" fmla="*/ 3816 h 10346"/>
                  <a:gd name="connsiteX7" fmla="*/ 8766 w 10002"/>
                  <a:gd name="connsiteY7" fmla="*/ 3498 h 10346"/>
                  <a:gd name="connsiteX8" fmla="*/ 7135 w 10002"/>
                  <a:gd name="connsiteY8" fmla="*/ 3498 h 10346"/>
                  <a:gd name="connsiteX9" fmla="*/ 7135 w 10002"/>
                  <a:gd name="connsiteY9" fmla="*/ 1365 h 10346"/>
                  <a:gd name="connsiteX10" fmla="*/ 4735 w 10002"/>
                  <a:gd name="connsiteY10" fmla="*/ 550 h 10346"/>
                  <a:gd name="connsiteX11" fmla="*/ 4735 w 10002"/>
                  <a:gd name="connsiteY11" fmla="*/ 5672 h 10346"/>
                  <a:gd name="connsiteX12" fmla="*/ 4355 w 10002"/>
                  <a:gd name="connsiteY12" fmla="*/ 5678 h 10346"/>
                  <a:gd name="connsiteX13" fmla="*/ 4355 w 10002"/>
                  <a:gd name="connsiteY13" fmla="*/ 1756 h 10346"/>
                  <a:gd name="connsiteX14" fmla="*/ 3548 w 10002"/>
                  <a:gd name="connsiteY14" fmla="*/ 2061 h 10346"/>
                  <a:gd name="connsiteX15" fmla="*/ 3112 w 10002"/>
                  <a:gd name="connsiteY15" fmla="*/ 2061 h 10346"/>
                  <a:gd name="connsiteX16" fmla="*/ 3112 w 10002"/>
                  <a:gd name="connsiteY16" fmla="*/ 0 h 10346"/>
                  <a:gd name="connsiteX17" fmla="*/ 2951 w 10002"/>
                  <a:gd name="connsiteY17" fmla="*/ 0 h 10346"/>
                  <a:gd name="connsiteX18" fmla="*/ 2951 w 10002"/>
                  <a:gd name="connsiteY18" fmla="*/ 2061 h 10346"/>
                  <a:gd name="connsiteX19" fmla="*/ 2581 w 10002"/>
                  <a:gd name="connsiteY19" fmla="*/ 2061 h 10346"/>
                  <a:gd name="connsiteX20" fmla="*/ 2581 w 10002"/>
                  <a:gd name="connsiteY20" fmla="*/ 2492 h 10346"/>
                  <a:gd name="connsiteX21" fmla="*/ 1916 w 10002"/>
                  <a:gd name="connsiteY21" fmla="*/ 2815 h 10346"/>
                  <a:gd name="connsiteX22" fmla="*/ 1916 w 10002"/>
                  <a:gd name="connsiteY22" fmla="*/ 4413 h 10346"/>
                  <a:gd name="connsiteX23" fmla="*/ 1560 w 10002"/>
                  <a:gd name="connsiteY23" fmla="*/ 4413 h 10346"/>
                  <a:gd name="connsiteX24" fmla="*/ 1560 w 10002"/>
                  <a:gd name="connsiteY24" fmla="*/ 4837 h 10346"/>
                  <a:gd name="connsiteX25" fmla="*/ 1916 w 10002"/>
                  <a:gd name="connsiteY25" fmla="*/ 4837 h 10346"/>
                  <a:gd name="connsiteX26" fmla="*/ 1916 w 10002"/>
                  <a:gd name="connsiteY26" fmla="*/ 5367 h 10346"/>
                  <a:gd name="connsiteX27" fmla="*/ 1560 w 10002"/>
                  <a:gd name="connsiteY27" fmla="*/ 5367 h 10346"/>
                  <a:gd name="connsiteX28" fmla="*/ 1560 w 10002"/>
                  <a:gd name="connsiteY28" fmla="*/ 5791 h 10346"/>
                  <a:gd name="connsiteX29" fmla="*/ 1916 w 10002"/>
                  <a:gd name="connsiteY29" fmla="*/ 5791 h 10346"/>
                  <a:gd name="connsiteX30" fmla="*/ 1916 w 10002"/>
                  <a:gd name="connsiteY30" fmla="*/ 7043 h 10346"/>
                  <a:gd name="connsiteX31" fmla="*/ 855 w 10002"/>
                  <a:gd name="connsiteY31" fmla="*/ 7043 h 10346"/>
                  <a:gd name="connsiteX32" fmla="*/ 855 w 10002"/>
                  <a:gd name="connsiteY32" fmla="*/ 7818 h 10346"/>
                  <a:gd name="connsiteX33" fmla="*/ 1399 w 10002"/>
                  <a:gd name="connsiteY33" fmla="*/ 7838 h 10346"/>
                  <a:gd name="connsiteX34" fmla="*/ 2136 w 10002"/>
                  <a:gd name="connsiteY34" fmla="*/ 7315 h 10346"/>
                  <a:gd name="connsiteX35" fmla="*/ 2130 w 10002"/>
                  <a:gd name="connsiteY35" fmla="*/ 7818 h 10346"/>
                  <a:gd name="connsiteX36" fmla="*/ 2809 w 10002"/>
                  <a:gd name="connsiteY36" fmla="*/ 7368 h 10346"/>
                  <a:gd name="connsiteX37" fmla="*/ 2809 w 10002"/>
                  <a:gd name="connsiteY37" fmla="*/ 7818 h 10346"/>
                  <a:gd name="connsiteX38" fmla="*/ 3480 w 10002"/>
                  <a:gd name="connsiteY38" fmla="*/ 7361 h 10346"/>
                  <a:gd name="connsiteX39" fmla="*/ 3486 w 10002"/>
                  <a:gd name="connsiteY39" fmla="*/ 7811 h 10346"/>
                  <a:gd name="connsiteX40" fmla="*/ 4132 w 10002"/>
                  <a:gd name="connsiteY40" fmla="*/ 7328 h 10346"/>
                  <a:gd name="connsiteX41" fmla="*/ 4132 w 10002"/>
                  <a:gd name="connsiteY41" fmla="*/ 8613 h 10346"/>
                  <a:gd name="connsiteX42" fmla="*/ 4207 w 10002"/>
                  <a:gd name="connsiteY42" fmla="*/ 8520 h 10346"/>
                  <a:gd name="connsiteX43" fmla="*/ 4280 w 10002"/>
                  <a:gd name="connsiteY43" fmla="*/ 8434 h 10346"/>
                  <a:gd name="connsiteX44" fmla="*/ 4370 w 10002"/>
                  <a:gd name="connsiteY44" fmla="*/ 8361 h 10346"/>
                  <a:gd name="connsiteX45" fmla="*/ 4469 w 10002"/>
                  <a:gd name="connsiteY45" fmla="*/ 8295 h 10346"/>
                  <a:gd name="connsiteX46" fmla="*/ 4569 w 10002"/>
                  <a:gd name="connsiteY46" fmla="*/ 8249 h 10346"/>
                  <a:gd name="connsiteX47" fmla="*/ 4676 w 10002"/>
                  <a:gd name="connsiteY47" fmla="*/ 8215 h 10346"/>
                  <a:gd name="connsiteX48" fmla="*/ 4788 w 10002"/>
                  <a:gd name="connsiteY48" fmla="*/ 8189 h 10346"/>
                  <a:gd name="connsiteX49" fmla="*/ 4917 w 10002"/>
                  <a:gd name="connsiteY49" fmla="*/ 8182 h 10346"/>
                  <a:gd name="connsiteX50" fmla="*/ 5093 w 10002"/>
                  <a:gd name="connsiteY50" fmla="*/ 8195 h 10346"/>
                  <a:gd name="connsiteX51" fmla="*/ 5268 w 10002"/>
                  <a:gd name="connsiteY51" fmla="*/ 8242 h 10346"/>
                  <a:gd name="connsiteX52" fmla="*/ 5408 w 10002"/>
                  <a:gd name="connsiteY52" fmla="*/ 8321 h 10346"/>
                  <a:gd name="connsiteX53" fmla="*/ 5551 w 10002"/>
                  <a:gd name="connsiteY53" fmla="*/ 8421 h 10346"/>
                  <a:gd name="connsiteX54" fmla="*/ 5672 w 10002"/>
                  <a:gd name="connsiteY54" fmla="*/ 8540 h 10346"/>
                  <a:gd name="connsiteX55" fmla="*/ 5752 w 10002"/>
                  <a:gd name="connsiteY55" fmla="*/ 8686 h 10346"/>
                  <a:gd name="connsiteX56" fmla="*/ 5826 w 10002"/>
                  <a:gd name="connsiteY56" fmla="*/ 8838 h 10346"/>
                  <a:gd name="connsiteX57" fmla="*/ 5851 w 10002"/>
                  <a:gd name="connsiteY57" fmla="*/ 9004 h 10346"/>
                  <a:gd name="connsiteX58" fmla="*/ 5885 w 10002"/>
                  <a:gd name="connsiteY58" fmla="*/ 8997 h 10346"/>
                  <a:gd name="connsiteX59" fmla="*/ 5912 w 10002"/>
                  <a:gd name="connsiteY59" fmla="*/ 8997 h 10346"/>
                  <a:gd name="connsiteX60" fmla="*/ 5939 w 10002"/>
                  <a:gd name="connsiteY60" fmla="*/ 8991 h 10346"/>
                  <a:gd name="connsiteX61" fmla="*/ 5965 w 10002"/>
                  <a:gd name="connsiteY61" fmla="*/ 8991 h 10346"/>
                  <a:gd name="connsiteX62" fmla="*/ 5999 w 10002"/>
                  <a:gd name="connsiteY62" fmla="*/ 8984 h 10346"/>
                  <a:gd name="connsiteX63" fmla="*/ 6031 w 10002"/>
                  <a:gd name="connsiteY63" fmla="*/ 8984 h 10346"/>
                  <a:gd name="connsiteX64" fmla="*/ 6059 w 10002"/>
                  <a:gd name="connsiteY64" fmla="*/ 8984 h 10346"/>
                  <a:gd name="connsiteX65" fmla="*/ 6094 w 10002"/>
                  <a:gd name="connsiteY65" fmla="*/ 8984 h 10346"/>
                  <a:gd name="connsiteX66" fmla="*/ 6234 w 10002"/>
                  <a:gd name="connsiteY66" fmla="*/ 8991 h 10346"/>
                  <a:gd name="connsiteX67" fmla="*/ 6362 w 10002"/>
                  <a:gd name="connsiteY67" fmla="*/ 9024 h 10346"/>
                  <a:gd name="connsiteX68" fmla="*/ 6489 w 10002"/>
                  <a:gd name="connsiteY68" fmla="*/ 9070 h 10346"/>
                  <a:gd name="connsiteX69" fmla="*/ 6605 w 10002"/>
                  <a:gd name="connsiteY69" fmla="*/ 9137 h 10346"/>
                  <a:gd name="connsiteX70" fmla="*/ 6711 w 10002"/>
                  <a:gd name="connsiteY70" fmla="*/ 9216 h 10346"/>
                  <a:gd name="connsiteX71" fmla="*/ 6806 w 10002"/>
                  <a:gd name="connsiteY71" fmla="*/ 9302 h 10346"/>
                  <a:gd name="connsiteX72" fmla="*/ 6881 w 10002"/>
                  <a:gd name="connsiteY72" fmla="*/ 9415 h 10346"/>
                  <a:gd name="connsiteX73" fmla="*/ 6948 w 10002"/>
                  <a:gd name="connsiteY73" fmla="*/ 9527 h 10346"/>
                  <a:gd name="connsiteX74" fmla="*/ 3112 w 10002"/>
                  <a:gd name="connsiteY74" fmla="*/ 9527 h 10346"/>
                  <a:gd name="connsiteX75" fmla="*/ 3151 w 10002"/>
                  <a:gd name="connsiteY75" fmla="*/ 9441 h 10346"/>
                  <a:gd name="connsiteX76" fmla="*/ 3205 w 10002"/>
                  <a:gd name="connsiteY76" fmla="*/ 9355 h 10346"/>
                  <a:gd name="connsiteX77" fmla="*/ 3260 w 10002"/>
                  <a:gd name="connsiteY77" fmla="*/ 9289 h 10346"/>
                  <a:gd name="connsiteX78" fmla="*/ 3331 w 10002"/>
                  <a:gd name="connsiteY78" fmla="*/ 9223 h 10346"/>
                  <a:gd name="connsiteX79" fmla="*/ 3399 w 10002"/>
                  <a:gd name="connsiteY79" fmla="*/ 9170 h 10346"/>
                  <a:gd name="connsiteX80" fmla="*/ 3480 w 10002"/>
                  <a:gd name="connsiteY80" fmla="*/ 9117 h 10346"/>
                  <a:gd name="connsiteX81" fmla="*/ 3561 w 10002"/>
                  <a:gd name="connsiteY81" fmla="*/ 9077 h 10346"/>
                  <a:gd name="connsiteX82" fmla="*/ 3656 w 10002"/>
                  <a:gd name="connsiteY82" fmla="*/ 9044 h 10346"/>
                  <a:gd name="connsiteX83" fmla="*/ 3656 w 10002"/>
                  <a:gd name="connsiteY83" fmla="*/ 8195 h 10346"/>
                  <a:gd name="connsiteX84" fmla="*/ 1541 w 10002"/>
                  <a:gd name="connsiteY84" fmla="*/ 8282 h 10346"/>
                  <a:gd name="connsiteX85" fmla="*/ 2 w 10002"/>
                  <a:gd name="connsiteY85" fmla="*/ 7088 h 10346"/>
                  <a:gd name="connsiteX86" fmla="*/ 2106 w 10002"/>
                  <a:gd name="connsiteY86" fmla="*/ 9555 h 10346"/>
                  <a:gd name="connsiteX87" fmla="*/ 6228 w 10002"/>
                  <a:gd name="connsiteY87" fmla="*/ 10294 h 10346"/>
                  <a:gd name="connsiteX88" fmla="*/ 8631 w 10002"/>
                  <a:gd name="connsiteY88" fmla="*/ 9231 h 10346"/>
                  <a:gd name="connsiteX89" fmla="*/ 9120 w 10002"/>
                  <a:gd name="connsiteY89" fmla="*/ 8935 h 10346"/>
                  <a:gd name="connsiteX0" fmla="*/ 9120 w 10002"/>
                  <a:gd name="connsiteY0" fmla="*/ 8935 h 10454"/>
                  <a:gd name="connsiteX1" fmla="*/ 10002 w 10002"/>
                  <a:gd name="connsiteY1" fmla="*/ 7381 h 10454"/>
                  <a:gd name="connsiteX2" fmla="*/ 9175 w 10002"/>
                  <a:gd name="connsiteY2" fmla="*/ 7381 h 10454"/>
                  <a:gd name="connsiteX3" fmla="*/ 9175 w 10002"/>
                  <a:gd name="connsiteY3" fmla="*/ 4128 h 10454"/>
                  <a:gd name="connsiteX4" fmla="*/ 7135 w 10002"/>
                  <a:gd name="connsiteY4" fmla="*/ 4128 h 10454"/>
                  <a:gd name="connsiteX5" fmla="*/ 7135 w 10002"/>
                  <a:gd name="connsiteY5" fmla="*/ 3816 h 10454"/>
                  <a:gd name="connsiteX6" fmla="*/ 8766 w 10002"/>
                  <a:gd name="connsiteY6" fmla="*/ 3816 h 10454"/>
                  <a:gd name="connsiteX7" fmla="*/ 8766 w 10002"/>
                  <a:gd name="connsiteY7" fmla="*/ 3498 h 10454"/>
                  <a:gd name="connsiteX8" fmla="*/ 7135 w 10002"/>
                  <a:gd name="connsiteY8" fmla="*/ 3498 h 10454"/>
                  <a:gd name="connsiteX9" fmla="*/ 7135 w 10002"/>
                  <a:gd name="connsiteY9" fmla="*/ 1365 h 10454"/>
                  <a:gd name="connsiteX10" fmla="*/ 4735 w 10002"/>
                  <a:gd name="connsiteY10" fmla="*/ 550 h 10454"/>
                  <a:gd name="connsiteX11" fmla="*/ 4735 w 10002"/>
                  <a:gd name="connsiteY11" fmla="*/ 5672 h 10454"/>
                  <a:gd name="connsiteX12" fmla="*/ 4355 w 10002"/>
                  <a:gd name="connsiteY12" fmla="*/ 5678 h 10454"/>
                  <a:gd name="connsiteX13" fmla="*/ 4355 w 10002"/>
                  <a:gd name="connsiteY13" fmla="*/ 1756 h 10454"/>
                  <a:gd name="connsiteX14" fmla="*/ 3548 w 10002"/>
                  <a:gd name="connsiteY14" fmla="*/ 2061 h 10454"/>
                  <a:gd name="connsiteX15" fmla="*/ 3112 w 10002"/>
                  <a:gd name="connsiteY15" fmla="*/ 2061 h 10454"/>
                  <a:gd name="connsiteX16" fmla="*/ 3112 w 10002"/>
                  <a:gd name="connsiteY16" fmla="*/ 0 h 10454"/>
                  <a:gd name="connsiteX17" fmla="*/ 2951 w 10002"/>
                  <a:gd name="connsiteY17" fmla="*/ 0 h 10454"/>
                  <a:gd name="connsiteX18" fmla="*/ 2951 w 10002"/>
                  <a:gd name="connsiteY18" fmla="*/ 2061 h 10454"/>
                  <a:gd name="connsiteX19" fmla="*/ 2581 w 10002"/>
                  <a:gd name="connsiteY19" fmla="*/ 2061 h 10454"/>
                  <a:gd name="connsiteX20" fmla="*/ 2581 w 10002"/>
                  <a:gd name="connsiteY20" fmla="*/ 2492 h 10454"/>
                  <a:gd name="connsiteX21" fmla="*/ 1916 w 10002"/>
                  <a:gd name="connsiteY21" fmla="*/ 2815 h 10454"/>
                  <a:gd name="connsiteX22" fmla="*/ 1916 w 10002"/>
                  <a:gd name="connsiteY22" fmla="*/ 4413 h 10454"/>
                  <a:gd name="connsiteX23" fmla="*/ 1560 w 10002"/>
                  <a:gd name="connsiteY23" fmla="*/ 4413 h 10454"/>
                  <a:gd name="connsiteX24" fmla="*/ 1560 w 10002"/>
                  <a:gd name="connsiteY24" fmla="*/ 4837 h 10454"/>
                  <a:gd name="connsiteX25" fmla="*/ 1916 w 10002"/>
                  <a:gd name="connsiteY25" fmla="*/ 4837 h 10454"/>
                  <a:gd name="connsiteX26" fmla="*/ 1916 w 10002"/>
                  <a:gd name="connsiteY26" fmla="*/ 5367 h 10454"/>
                  <a:gd name="connsiteX27" fmla="*/ 1560 w 10002"/>
                  <a:gd name="connsiteY27" fmla="*/ 5367 h 10454"/>
                  <a:gd name="connsiteX28" fmla="*/ 1560 w 10002"/>
                  <a:gd name="connsiteY28" fmla="*/ 5791 h 10454"/>
                  <a:gd name="connsiteX29" fmla="*/ 1916 w 10002"/>
                  <a:gd name="connsiteY29" fmla="*/ 5791 h 10454"/>
                  <a:gd name="connsiteX30" fmla="*/ 1916 w 10002"/>
                  <a:gd name="connsiteY30" fmla="*/ 7043 h 10454"/>
                  <a:gd name="connsiteX31" fmla="*/ 855 w 10002"/>
                  <a:gd name="connsiteY31" fmla="*/ 7043 h 10454"/>
                  <a:gd name="connsiteX32" fmla="*/ 855 w 10002"/>
                  <a:gd name="connsiteY32" fmla="*/ 7818 h 10454"/>
                  <a:gd name="connsiteX33" fmla="*/ 1399 w 10002"/>
                  <a:gd name="connsiteY33" fmla="*/ 7838 h 10454"/>
                  <a:gd name="connsiteX34" fmla="*/ 2136 w 10002"/>
                  <a:gd name="connsiteY34" fmla="*/ 7315 h 10454"/>
                  <a:gd name="connsiteX35" fmla="*/ 2130 w 10002"/>
                  <a:gd name="connsiteY35" fmla="*/ 7818 h 10454"/>
                  <a:gd name="connsiteX36" fmla="*/ 2809 w 10002"/>
                  <a:gd name="connsiteY36" fmla="*/ 7368 h 10454"/>
                  <a:gd name="connsiteX37" fmla="*/ 2809 w 10002"/>
                  <a:gd name="connsiteY37" fmla="*/ 7818 h 10454"/>
                  <a:gd name="connsiteX38" fmla="*/ 3480 w 10002"/>
                  <a:gd name="connsiteY38" fmla="*/ 7361 h 10454"/>
                  <a:gd name="connsiteX39" fmla="*/ 3486 w 10002"/>
                  <a:gd name="connsiteY39" fmla="*/ 7811 h 10454"/>
                  <a:gd name="connsiteX40" fmla="*/ 4132 w 10002"/>
                  <a:gd name="connsiteY40" fmla="*/ 7328 h 10454"/>
                  <a:gd name="connsiteX41" fmla="*/ 4132 w 10002"/>
                  <a:gd name="connsiteY41" fmla="*/ 8613 h 10454"/>
                  <a:gd name="connsiteX42" fmla="*/ 4207 w 10002"/>
                  <a:gd name="connsiteY42" fmla="*/ 8520 h 10454"/>
                  <a:gd name="connsiteX43" fmla="*/ 4280 w 10002"/>
                  <a:gd name="connsiteY43" fmla="*/ 8434 h 10454"/>
                  <a:gd name="connsiteX44" fmla="*/ 4370 w 10002"/>
                  <a:gd name="connsiteY44" fmla="*/ 8361 h 10454"/>
                  <a:gd name="connsiteX45" fmla="*/ 4469 w 10002"/>
                  <a:gd name="connsiteY45" fmla="*/ 8295 h 10454"/>
                  <a:gd name="connsiteX46" fmla="*/ 4569 w 10002"/>
                  <a:gd name="connsiteY46" fmla="*/ 8249 h 10454"/>
                  <a:gd name="connsiteX47" fmla="*/ 4676 w 10002"/>
                  <a:gd name="connsiteY47" fmla="*/ 8215 h 10454"/>
                  <a:gd name="connsiteX48" fmla="*/ 4788 w 10002"/>
                  <a:gd name="connsiteY48" fmla="*/ 8189 h 10454"/>
                  <a:gd name="connsiteX49" fmla="*/ 4917 w 10002"/>
                  <a:gd name="connsiteY49" fmla="*/ 8182 h 10454"/>
                  <a:gd name="connsiteX50" fmla="*/ 5093 w 10002"/>
                  <a:gd name="connsiteY50" fmla="*/ 8195 h 10454"/>
                  <a:gd name="connsiteX51" fmla="*/ 5268 w 10002"/>
                  <a:gd name="connsiteY51" fmla="*/ 8242 h 10454"/>
                  <a:gd name="connsiteX52" fmla="*/ 5408 w 10002"/>
                  <a:gd name="connsiteY52" fmla="*/ 8321 h 10454"/>
                  <a:gd name="connsiteX53" fmla="*/ 5551 w 10002"/>
                  <a:gd name="connsiteY53" fmla="*/ 8421 h 10454"/>
                  <a:gd name="connsiteX54" fmla="*/ 5672 w 10002"/>
                  <a:gd name="connsiteY54" fmla="*/ 8540 h 10454"/>
                  <a:gd name="connsiteX55" fmla="*/ 5752 w 10002"/>
                  <a:gd name="connsiteY55" fmla="*/ 8686 h 10454"/>
                  <a:gd name="connsiteX56" fmla="*/ 5826 w 10002"/>
                  <a:gd name="connsiteY56" fmla="*/ 8838 h 10454"/>
                  <a:gd name="connsiteX57" fmla="*/ 5851 w 10002"/>
                  <a:gd name="connsiteY57" fmla="*/ 9004 h 10454"/>
                  <a:gd name="connsiteX58" fmla="*/ 5885 w 10002"/>
                  <a:gd name="connsiteY58" fmla="*/ 8997 h 10454"/>
                  <a:gd name="connsiteX59" fmla="*/ 5912 w 10002"/>
                  <a:gd name="connsiteY59" fmla="*/ 8997 h 10454"/>
                  <a:gd name="connsiteX60" fmla="*/ 5939 w 10002"/>
                  <a:gd name="connsiteY60" fmla="*/ 8991 h 10454"/>
                  <a:gd name="connsiteX61" fmla="*/ 5965 w 10002"/>
                  <a:gd name="connsiteY61" fmla="*/ 8991 h 10454"/>
                  <a:gd name="connsiteX62" fmla="*/ 5999 w 10002"/>
                  <a:gd name="connsiteY62" fmla="*/ 8984 h 10454"/>
                  <a:gd name="connsiteX63" fmla="*/ 6031 w 10002"/>
                  <a:gd name="connsiteY63" fmla="*/ 8984 h 10454"/>
                  <a:gd name="connsiteX64" fmla="*/ 6059 w 10002"/>
                  <a:gd name="connsiteY64" fmla="*/ 8984 h 10454"/>
                  <a:gd name="connsiteX65" fmla="*/ 6094 w 10002"/>
                  <a:gd name="connsiteY65" fmla="*/ 8984 h 10454"/>
                  <a:gd name="connsiteX66" fmla="*/ 6234 w 10002"/>
                  <a:gd name="connsiteY66" fmla="*/ 8991 h 10454"/>
                  <a:gd name="connsiteX67" fmla="*/ 6362 w 10002"/>
                  <a:gd name="connsiteY67" fmla="*/ 9024 h 10454"/>
                  <a:gd name="connsiteX68" fmla="*/ 6489 w 10002"/>
                  <a:gd name="connsiteY68" fmla="*/ 9070 h 10454"/>
                  <a:gd name="connsiteX69" fmla="*/ 6605 w 10002"/>
                  <a:gd name="connsiteY69" fmla="*/ 9137 h 10454"/>
                  <a:gd name="connsiteX70" fmla="*/ 6711 w 10002"/>
                  <a:gd name="connsiteY70" fmla="*/ 9216 h 10454"/>
                  <a:gd name="connsiteX71" fmla="*/ 6806 w 10002"/>
                  <a:gd name="connsiteY71" fmla="*/ 9302 h 10454"/>
                  <a:gd name="connsiteX72" fmla="*/ 6881 w 10002"/>
                  <a:gd name="connsiteY72" fmla="*/ 9415 h 10454"/>
                  <a:gd name="connsiteX73" fmla="*/ 6948 w 10002"/>
                  <a:gd name="connsiteY73" fmla="*/ 9527 h 10454"/>
                  <a:gd name="connsiteX74" fmla="*/ 3112 w 10002"/>
                  <a:gd name="connsiteY74" fmla="*/ 9527 h 10454"/>
                  <a:gd name="connsiteX75" fmla="*/ 3151 w 10002"/>
                  <a:gd name="connsiteY75" fmla="*/ 9441 h 10454"/>
                  <a:gd name="connsiteX76" fmla="*/ 3205 w 10002"/>
                  <a:gd name="connsiteY76" fmla="*/ 9355 h 10454"/>
                  <a:gd name="connsiteX77" fmla="*/ 3260 w 10002"/>
                  <a:gd name="connsiteY77" fmla="*/ 9289 h 10454"/>
                  <a:gd name="connsiteX78" fmla="*/ 3331 w 10002"/>
                  <a:gd name="connsiteY78" fmla="*/ 9223 h 10454"/>
                  <a:gd name="connsiteX79" fmla="*/ 3399 w 10002"/>
                  <a:gd name="connsiteY79" fmla="*/ 9170 h 10454"/>
                  <a:gd name="connsiteX80" fmla="*/ 3480 w 10002"/>
                  <a:gd name="connsiteY80" fmla="*/ 9117 h 10454"/>
                  <a:gd name="connsiteX81" fmla="*/ 3561 w 10002"/>
                  <a:gd name="connsiteY81" fmla="*/ 9077 h 10454"/>
                  <a:gd name="connsiteX82" fmla="*/ 3656 w 10002"/>
                  <a:gd name="connsiteY82" fmla="*/ 9044 h 10454"/>
                  <a:gd name="connsiteX83" fmla="*/ 3656 w 10002"/>
                  <a:gd name="connsiteY83" fmla="*/ 8195 h 10454"/>
                  <a:gd name="connsiteX84" fmla="*/ 1541 w 10002"/>
                  <a:gd name="connsiteY84" fmla="*/ 8282 h 10454"/>
                  <a:gd name="connsiteX85" fmla="*/ 2 w 10002"/>
                  <a:gd name="connsiteY85" fmla="*/ 7088 h 10454"/>
                  <a:gd name="connsiteX86" fmla="*/ 2106 w 10002"/>
                  <a:gd name="connsiteY86" fmla="*/ 9555 h 10454"/>
                  <a:gd name="connsiteX87" fmla="*/ 6228 w 10002"/>
                  <a:gd name="connsiteY87" fmla="*/ 10294 h 10454"/>
                  <a:gd name="connsiteX88" fmla="*/ 8631 w 10002"/>
                  <a:gd name="connsiteY88" fmla="*/ 9231 h 10454"/>
                  <a:gd name="connsiteX89" fmla="*/ 9120 w 10002"/>
                  <a:gd name="connsiteY89" fmla="*/ 8935 h 10454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9120 w 10002"/>
                  <a:gd name="connsiteY0" fmla="*/ 8935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89" fmla="*/ 9120 w 10002"/>
                  <a:gd name="connsiteY89" fmla="*/ 8935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631 w 10002"/>
                  <a:gd name="connsiteY0" fmla="*/ 9231 h 10369"/>
                  <a:gd name="connsiteX1" fmla="*/ 10002 w 10002"/>
                  <a:gd name="connsiteY1" fmla="*/ 7381 h 10369"/>
                  <a:gd name="connsiteX2" fmla="*/ 9175 w 10002"/>
                  <a:gd name="connsiteY2" fmla="*/ 7381 h 10369"/>
                  <a:gd name="connsiteX3" fmla="*/ 9175 w 10002"/>
                  <a:gd name="connsiteY3" fmla="*/ 4128 h 10369"/>
                  <a:gd name="connsiteX4" fmla="*/ 7135 w 10002"/>
                  <a:gd name="connsiteY4" fmla="*/ 4128 h 10369"/>
                  <a:gd name="connsiteX5" fmla="*/ 7135 w 10002"/>
                  <a:gd name="connsiteY5" fmla="*/ 3816 h 10369"/>
                  <a:gd name="connsiteX6" fmla="*/ 8766 w 10002"/>
                  <a:gd name="connsiteY6" fmla="*/ 3816 h 10369"/>
                  <a:gd name="connsiteX7" fmla="*/ 8766 w 10002"/>
                  <a:gd name="connsiteY7" fmla="*/ 3498 h 10369"/>
                  <a:gd name="connsiteX8" fmla="*/ 7135 w 10002"/>
                  <a:gd name="connsiteY8" fmla="*/ 3498 h 10369"/>
                  <a:gd name="connsiteX9" fmla="*/ 7135 w 10002"/>
                  <a:gd name="connsiteY9" fmla="*/ 1365 h 10369"/>
                  <a:gd name="connsiteX10" fmla="*/ 4735 w 10002"/>
                  <a:gd name="connsiteY10" fmla="*/ 550 h 10369"/>
                  <a:gd name="connsiteX11" fmla="*/ 4735 w 10002"/>
                  <a:gd name="connsiteY11" fmla="*/ 5672 h 10369"/>
                  <a:gd name="connsiteX12" fmla="*/ 4355 w 10002"/>
                  <a:gd name="connsiteY12" fmla="*/ 5678 h 10369"/>
                  <a:gd name="connsiteX13" fmla="*/ 4355 w 10002"/>
                  <a:gd name="connsiteY13" fmla="*/ 1756 h 10369"/>
                  <a:gd name="connsiteX14" fmla="*/ 3548 w 10002"/>
                  <a:gd name="connsiteY14" fmla="*/ 2061 h 10369"/>
                  <a:gd name="connsiteX15" fmla="*/ 3112 w 10002"/>
                  <a:gd name="connsiteY15" fmla="*/ 2061 h 10369"/>
                  <a:gd name="connsiteX16" fmla="*/ 3112 w 10002"/>
                  <a:gd name="connsiteY16" fmla="*/ 0 h 10369"/>
                  <a:gd name="connsiteX17" fmla="*/ 2951 w 10002"/>
                  <a:gd name="connsiteY17" fmla="*/ 0 h 10369"/>
                  <a:gd name="connsiteX18" fmla="*/ 2951 w 10002"/>
                  <a:gd name="connsiteY18" fmla="*/ 2061 h 10369"/>
                  <a:gd name="connsiteX19" fmla="*/ 2581 w 10002"/>
                  <a:gd name="connsiteY19" fmla="*/ 2061 h 10369"/>
                  <a:gd name="connsiteX20" fmla="*/ 2581 w 10002"/>
                  <a:gd name="connsiteY20" fmla="*/ 2492 h 10369"/>
                  <a:gd name="connsiteX21" fmla="*/ 1916 w 10002"/>
                  <a:gd name="connsiteY21" fmla="*/ 2815 h 10369"/>
                  <a:gd name="connsiteX22" fmla="*/ 1916 w 10002"/>
                  <a:gd name="connsiteY22" fmla="*/ 4413 h 10369"/>
                  <a:gd name="connsiteX23" fmla="*/ 1560 w 10002"/>
                  <a:gd name="connsiteY23" fmla="*/ 4413 h 10369"/>
                  <a:gd name="connsiteX24" fmla="*/ 1560 w 10002"/>
                  <a:gd name="connsiteY24" fmla="*/ 4837 h 10369"/>
                  <a:gd name="connsiteX25" fmla="*/ 1916 w 10002"/>
                  <a:gd name="connsiteY25" fmla="*/ 4837 h 10369"/>
                  <a:gd name="connsiteX26" fmla="*/ 1916 w 10002"/>
                  <a:gd name="connsiteY26" fmla="*/ 5367 h 10369"/>
                  <a:gd name="connsiteX27" fmla="*/ 1560 w 10002"/>
                  <a:gd name="connsiteY27" fmla="*/ 5367 h 10369"/>
                  <a:gd name="connsiteX28" fmla="*/ 1560 w 10002"/>
                  <a:gd name="connsiteY28" fmla="*/ 5791 h 10369"/>
                  <a:gd name="connsiteX29" fmla="*/ 1916 w 10002"/>
                  <a:gd name="connsiteY29" fmla="*/ 5791 h 10369"/>
                  <a:gd name="connsiteX30" fmla="*/ 1916 w 10002"/>
                  <a:gd name="connsiteY30" fmla="*/ 7043 h 10369"/>
                  <a:gd name="connsiteX31" fmla="*/ 855 w 10002"/>
                  <a:gd name="connsiteY31" fmla="*/ 7043 h 10369"/>
                  <a:gd name="connsiteX32" fmla="*/ 855 w 10002"/>
                  <a:gd name="connsiteY32" fmla="*/ 7818 h 10369"/>
                  <a:gd name="connsiteX33" fmla="*/ 1399 w 10002"/>
                  <a:gd name="connsiteY33" fmla="*/ 7838 h 10369"/>
                  <a:gd name="connsiteX34" fmla="*/ 2136 w 10002"/>
                  <a:gd name="connsiteY34" fmla="*/ 7315 h 10369"/>
                  <a:gd name="connsiteX35" fmla="*/ 2130 w 10002"/>
                  <a:gd name="connsiteY35" fmla="*/ 7818 h 10369"/>
                  <a:gd name="connsiteX36" fmla="*/ 2809 w 10002"/>
                  <a:gd name="connsiteY36" fmla="*/ 7368 h 10369"/>
                  <a:gd name="connsiteX37" fmla="*/ 2809 w 10002"/>
                  <a:gd name="connsiteY37" fmla="*/ 7818 h 10369"/>
                  <a:gd name="connsiteX38" fmla="*/ 3480 w 10002"/>
                  <a:gd name="connsiteY38" fmla="*/ 7361 h 10369"/>
                  <a:gd name="connsiteX39" fmla="*/ 3486 w 10002"/>
                  <a:gd name="connsiteY39" fmla="*/ 7811 h 10369"/>
                  <a:gd name="connsiteX40" fmla="*/ 4132 w 10002"/>
                  <a:gd name="connsiteY40" fmla="*/ 7328 h 10369"/>
                  <a:gd name="connsiteX41" fmla="*/ 4132 w 10002"/>
                  <a:gd name="connsiteY41" fmla="*/ 8613 h 10369"/>
                  <a:gd name="connsiteX42" fmla="*/ 4207 w 10002"/>
                  <a:gd name="connsiteY42" fmla="*/ 8520 h 10369"/>
                  <a:gd name="connsiteX43" fmla="*/ 4280 w 10002"/>
                  <a:gd name="connsiteY43" fmla="*/ 8434 h 10369"/>
                  <a:gd name="connsiteX44" fmla="*/ 4370 w 10002"/>
                  <a:gd name="connsiteY44" fmla="*/ 8361 h 10369"/>
                  <a:gd name="connsiteX45" fmla="*/ 4469 w 10002"/>
                  <a:gd name="connsiteY45" fmla="*/ 8295 h 10369"/>
                  <a:gd name="connsiteX46" fmla="*/ 4569 w 10002"/>
                  <a:gd name="connsiteY46" fmla="*/ 8249 h 10369"/>
                  <a:gd name="connsiteX47" fmla="*/ 4676 w 10002"/>
                  <a:gd name="connsiteY47" fmla="*/ 8215 h 10369"/>
                  <a:gd name="connsiteX48" fmla="*/ 4788 w 10002"/>
                  <a:gd name="connsiteY48" fmla="*/ 8189 h 10369"/>
                  <a:gd name="connsiteX49" fmla="*/ 4917 w 10002"/>
                  <a:gd name="connsiteY49" fmla="*/ 8182 h 10369"/>
                  <a:gd name="connsiteX50" fmla="*/ 5093 w 10002"/>
                  <a:gd name="connsiteY50" fmla="*/ 8195 h 10369"/>
                  <a:gd name="connsiteX51" fmla="*/ 5268 w 10002"/>
                  <a:gd name="connsiteY51" fmla="*/ 8242 h 10369"/>
                  <a:gd name="connsiteX52" fmla="*/ 5408 w 10002"/>
                  <a:gd name="connsiteY52" fmla="*/ 8321 h 10369"/>
                  <a:gd name="connsiteX53" fmla="*/ 5551 w 10002"/>
                  <a:gd name="connsiteY53" fmla="*/ 8421 h 10369"/>
                  <a:gd name="connsiteX54" fmla="*/ 5672 w 10002"/>
                  <a:gd name="connsiteY54" fmla="*/ 8540 h 10369"/>
                  <a:gd name="connsiteX55" fmla="*/ 5752 w 10002"/>
                  <a:gd name="connsiteY55" fmla="*/ 8686 h 10369"/>
                  <a:gd name="connsiteX56" fmla="*/ 5826 w 10002"/>
                  <a:gd name="connsiteY56" fmla="*/ 8838 h 10369"/>
                  <a:gd name="connsiteX57" fmla="*/ 5851 w 10002"/>
                  <a:gd name="connsiteY57" fmla="*/ 9004 h 10369"/>
                  <a:gd name="connsiteX58" fmla="*/ 5885 w 10002"/>
                  <a:gd name="connsiteY58" fmla="*/ 8997 h 10369"/>
                  <a:gd name="connsiteX59" fmla="*/ 5912 w 10002"/>
                  <a:gd name="connsiteY59" fmla="*/ 8997 h 10369"/>
                  <a:gd name="connsiteX60" fmla="*/ 5939 w 10002"/>
                  <a:gd name="connsiteY60" fmla="*/ 8991 h 10369"/>
                  <a:gd name="connsiteX61" fmla="*/ 5965 w 10002"/>
                  <a:gd name="connsiteY61" fmla="*/ 8991 h 10369"/>
                  <a:gd name="connsiteX62" fmla="*/ 5999 w 10002"/>
                  <a:gd name="connsiteY62" fmla="*/ 8984 h 10369"/>
                  <a:gd name="connsiteX63" fmla="*/ 6031 w 10002"/>
                  <a:gd name="connsiteY63" fmla="*/ 8984 h 10369"/>
                  <a:gd name="connsiteX64" fmla="*/ 6059 w 10002"/>
                  <a:gd name="connsiteY64" fmla="*/ 8984 h 10369"/>
                  <a:gd name="connsiteX65" fmla="*/ 6094 w 10002"/>
                  <a:gd name="connsiteY65" fmla="*/ 8984 h 10369"/>
                  <a:gd name="connsiteX66" fmla="*/ 6234 w 10002"/>
                  <a:gd name="connsiteY66" fmla="*/ 8991 h 10369"/>
                  <a:gd name="connsiteX67" fmla="*/ 6362 w 10002"/>
                  <a:gd name="connsiteY67" fmla="*/ 9024 h 10369"/>
                  <a:gd name="connsiteX68" fmla="*/ 6489 w 10002"/>
                  <a:gd name="connsiteY68" fmla="*/ 9070 h 10369"/>
                  <a:gd name="connsiteX69" fmla="*/ 6605 w 10002"/>
                  <a:gd name="connsiteY69" fmla="*/ 9137 h 10369"/>
                  <a:gd name="connsiteX70" fmla="*/ 6711 w 10002"/>
                  <a:gd name="connsiteY70" fmla="*/ 9216 h 10369"/>
                  <a:gd name="connsiteX71" fmla="*/ 6806 w 10002"/>
                  <a:gd name="connsiteY71" fmla="*/ 9302 h 10369"/>
                  <a:gd name="connsiteX72" fmla="*/ 6881 w 10002"/>
                  <a:gd name="connsiteY72" fmla="*/ 9415 h 10369"/>
                  <a:gd name="connsiteX73" fmla="*/ 6948 w 10002"/>
                  <a:gd name="connsiteY73" fmla="*/ 9527 h 10369"/>
                  <a:gd name="connsiteX74" fmla="*/ 3112 w 10002"/>
                  <a:gd name="connsiteY74" fmla="*/ 9527 h 10369"/>
                  <a:gd name="connsiteX75" fmla="*/ 3151 w 10002"/>
                  <a:gd name="connsiteY75" fmla="*/ 9441 h 10369"/>
                  <a:gd name="connsiteX76" fmla="*/ 3205 w 10002"/>
                  <a:gd name="connsiteY76" fmla="*/ 9355 h 10369"/>
                  <a:gd name="connsiteX77" fmla="*/ 3260 w 10002"/>
                  <a:gd name="connsiteY77" fmla="*/ 9289 h 10369"/>
                  <a:gd name="connsiteX78" fmla="*/ 3331 w 10002"/>
                  <a:gd name="connsiteY78" fmla="*/ 9223 h 10369"/>
                  <a:gd name="connsiteX79" fmla="*/ 3399 w 10002"/>
                  <a:gd name="connsiteY79" fmla="*/ 9170 h 10369"/>
                  <a:gd name="connsiteX80" fmla="*/ 3480 w 10002"/>
                  <a:gd name="connsiteY80" fmla="*/ 9117 h 10369"/>
                  <a:gd name="connsiteX81" fmla="*/ 3561 w 10002"/>
                  <a:gd name="connsiteY81" fmla="*/ 9077 h 10369"/>
                  <a:gd name="connsiteX82" fmla="*/ 3656 w 10002"/>
                  <a:gd name="connsiteY82" fmla="*/ 9044 h 10369"/>
                  <a:gd name="connsiteX83" fmla="*/ 3656 w 10002"/>
                  <a:gd name="connsiteY83" fmla="*/ 8195 h 10369"/>
                  <a:gd name="connsiteX84" fmla="*/ 1541 w 10002"/>
                  <a:gd name="connsiteY84" fmla="*/ 8282 h 10369"/>
                  <a:gd name="connsiteX85" fmla="*/ 2 w 10002"/>
                  <a:gd name="connsiteY85" fmla="*/ 7088 h 10369"/>
                  <a:gd name="connsiteX86" fmla="*/ 2106 w 10002"/>
                  <a:gd name="connsiteY86" fmla="*/ 9555 h 10369"/>
                  <a:gd name="connsiteX87" fmla="*/ 6228 w 10002"/>
                  <a:gd name="connsiteY87" fmla="*/ 10294 h 10369"/>
                  <a:gd name="connsiteX88" fmla="*/ 8631 w 10002"/>
                  <a:gd name="connsiteY88" fmla="*/ 9231 h 10369"/>
                  <a:gd name="connsiteX0" fmla="*/ 8389 w 9760"/>
                  <a:gd name="connsiteY0" fmla="*/ 9231 h 10327"/>
                  <a:gd name="connsiteX1" fmla="*/ 9760 w 9760"/>
                  <a:gd name="connsiteY1" fmla="*/ 7381 h 10327"/>
                  <a:gd name="connsiteX2" fmla="*/ 8933 w 9760"/>
                  <a:gd name="connsiteY2" fmla="*/ 7381 h 10327"/>
                  <a:gd name="connsiteX3" fmla="*/ 8933 w 9760"/>
                  <a:gd name="connsiteY3" fmla="*/ 4128 h 10327"/>
                  <a:gd name="connsiteX4" fmla="*/ 6893 w 9760"/>
                  <a:gd name="connsiteY4" fmla="*/ 4128 h 10327"/>
                  <a:gd name="connsiteX5" fmla="*/ 6893 w 9760"/>
                  <a:gd name="connsiteY5" fmla="*/ 3816 h 10327"/>
                  <a:gd name="connsiteX6" fmla="*/ 8524 w 9760"/>
                  <a:gd name="connsiteY6" fmla="*/ 3816 h 10327"/>
                  <a:gd name="connsiteX7" fmla="*/ 8524 w 9760"/>
                  <a:gd name="connsiteY7" fmla="*/ 3498 h 10327"/>
                  <a:gd name="connsiteX8" fmla="*/ 6893 w 9760"/>
                  <a:gd name="connsiteY8" fmla="*/ 3498 h 10327"/>
                  <a:gd name="connsiteX9" fmla="*/ 6893 w 9760"/>
                  <a:gd name="connsiteY9" fmla="*/ 1365 h 10327"/>
                  <a:gd name="connsiteX10" fmla="*/ 4493 w 9760"/>
                  <a:gd name="connsiteY10" fmla="*/ 550 h 10327"/>
                  <a:gd name="connsiteX11" fmla="*/ 4493 w 9760"/>
                  <a:gd name="connsiteY11" fmla="*/ 5672 h 10327"/>
                  <a:gd name="connsiteX12" fmla="*/ 4113 w 9760"/>
                  <a:gd name="connsiteY12" fmla="*/ 5678 h 10327"/>
                  <a:gd name="connsiteX13" fmla="*/ 4113 w 9760"/>
                  <a:gd name="connsiteY13" fmla="*/ 1756 h 10327"/>
                  <a:gd name="connsiteX14" fmla="*/ 3306 w 9760"/>
                  <a:gd name="connsiteY14" fmla="*/ 2061 h 10327"/>
                  <a:gd name="connsiteX15" fmla="*/ 2870 w 9760"/>
                  <a:gd name="connsiteY15" fmla="*/ 2061 h 10327"/>
                  <a:gd name="connsiteX16" fmla="*/ 2870 w 9760"/>
                  <a:gd name="connsiteY16" fmla="*/ 0 h 10327"/>
                  <a:gd name="connsiteX17" fmla="*/ 2709 w 9760"/>
                  <a:gd name="connsiteY17" fmla="*/ 0 h 10327"/>
                  <a:gd name="connsiteX18" fmla="*/ 2709 w 9760"/>
                  <a:gd name="connsiteY18" fmla="*/ 2061 h 10327"/>
                  <a:gd name="connsiteX19" fmla="*/ 2339 w 9760"/>
                  <a:gd name="connsiteY19" fmla="*/ 2061 h 10327"/>
                  <a:gd name="connsiteX20" fmla="*/ 2339 w 9760"/>
                  <a:gd name="connsiteY20" fmla="*/ 2492 h 10327"/>
                  <a:gd name="connsiteX21" fmla="*/ 1674 w 9760"/>
                  <a:gd name="connsiteY21" fmla="*/ 2815 h 10327"/>
                  <a:gd name="connsiteX22" fmla="*/ 1674 w 9760"/>
                  <a:gd name="connsiteY22" fmla="*/ 4413 h 10327"/>
                  <a:gd name="connsiteX23" fmla="*/ 1318 w 9760"/>
                  <a:gd name="connsiteY23" fmla="*/ 4413 h 10327"/>
                  <a:gd name="connsiteX24" fmla="*/ 1318 w 9760"/>
                  <a:gd name="connsiteY24" fmla="*/ 4837 h 10327"/>
                  <a:gd name="connsiteX25" fmla="*/ 1674 w 9760"/>
                  <a:gd name="connsiteY25" fmla="*/ 4837 h 10327"/>
                  <a:gd name="connsiteX26" fmla="*/ 1674 w 9760"/>
                  <a:gd name="connsiteY26" fmla="*/ 5367 h 10327"/>
                  <a:gd name="connsiteX27" fmla="*/ 1318 w 9760"/>
                  <a:gd name="connsiteY27" fmla="*/ 5367 h 10327"/>
                  <a:gd name="connsiteX28" fmla="*/ 1318 w 9760"/>
                  <a:gd name="connsiteY28" fmla="*/ 5791 h 10327"/>
                  <a:gd name="connsiteX29" fmla="*/ 1674 w 9760"/>
                  <a:gd name="connsiteY29" fmla="*/ 5791 h 10327"/>
                  <a:gd name="connsiteX30" fmla="*/ 1674 w 9760"/>
                  <a:gd name="connsiteY30" fmla="*/ 7043 h 10327"/>
                  <a:gd name="connsiteX31" fmla="*/ 613 w 9760"/>
                  <a:gd name="connsiteY31" fmla="*/ 7043 h 10327"/>
                  <a:gd name="connsiteX32" fmla="*/ 613 w 9760"/>
                  <a:gd name="connsiteY32" fmla="*/ 7818 h 10327"/>
                  <a:gd name="connsiteX33" fmla="*/ 1157 w 9760"/>
                  <a:gd name="connsiteY33" fmla="*/ 7838 h 10327"/>
                  <a:gd name="connsiteX34" fmla="*/ 1894 w 9760"/>
                  <a:gd name="connsiteY34" fmla="*/ 7315 h 10327"/>
                  <a:gd name="connsiteX35" fmla="*/ 1888 w 9760"/>
                  <a:gd name="connsiteY35" fmla="*/ 7818 h 10327"/>
                  <a:gd name="connsiteX36" fmla="*/ 2567 w 9760"/>
                  <a:gd name="connsiteY36" fmla="*/ 7368 h 10327"/>
                  <a:gd name="connsiteX37" fmla="*/ 2567 w 9760"/>
                  <a:gd name="connsiteY37" fmla="*/ 7818 h 10327"/>
                  <a:gd name="connsiteX38" fmla="*/ 3238 w 9760"/>
                  <a:gd name="connsiteY38" fmla="*/ 7361 h 10327"/>
                  <a:gd name="connsiteX39" fmla="*/ 3244 w 9760"/>
                  <a:gd name="connsiteY39" fmla="*/ 7811 h 10327"/>
                  <a:gd name="connsiteX40" fmla="*/ 3890 w 9760"/>
                  <a:gd name="connsiteY40" fmla="*/ 7328 h 10327"/>
                  <a:gd name="connsiteX41" fmla="*/ 3890 w 9760"/>
                  <a:gd name="connsiteY41" fmla="*/ 8613 h 10327"/>
                  <a:gd name="connsiteX42" fmla="*/ 3965 w 9760"/>
                  <a:gd name="connsiteY42" fmla="*/ 8520 h 10327"/>
                  <a:gd name="connsiteX43" fmla="*/ 4038 w 9760"/>
                  <a:gd name="connsiteY43" fmla="*/ 8434 h 10327"/>
                  <a:gd name="connsiteX44" fmla="*/ 4128 w 9760"/>
                  <a:gd name="connsiteY44" fmla="*/ 8361 h 10327"/>
                  <a:gd name="connsiteX45" fmla="*/ 4227 w 9760"/>
                  <a:gd name="connsiteY45" fmla="*/ 8295 h 10327"/>
                  <a:gd name="connsiteX46" fmla="*/ 4327 w 9760"/>
                  <a:gd name="connsiteY46" fmla="*/ 8249 h 10327"/>
                  <a:gd name="connsiteX47" fmla="*/ 4434 w 9760"/>
                  <a:gd name="connsiteY47" fmla="*/ 8215 h 10327"/>
                  <a:gd name="connsiteX48" fmla="*/ 4546 w 9760"/>
                  <a:gd name="connsiteY48" fmla="*/ 8189 h 10327"/>
                  <a:gd name="connsiteX49" fmla="*/ 4675 w 9760"/>
                  <a:gd name="connsiteY49" fmla="*/ 8182 h 10327"/>
                  <a:gd name="connsiteX50" fmla="*/ 4851 w 9760"/>
                  <a:gd name="connsiteY50" fmla="*/ 8195 h 10327"/>
                  <a:gd name="connsiteX51" fmla="*/ 5026 w 9760"/>
                  <a:gd name="connsiteY51" fmla="*/ 8242 h 10327"/>
                  <a:gd name="connsiteX52" fmla="*/ 5166 w 9760"/>
                  <a:gd name="connsiteY52" fmla="*/ 8321 h 10327"/>
                  <a:gd name="connsiteX53" fmla="*/ 5309 w 9760"/>
                  <a:gd name="connsiteY53" fmla="*/ 8421 h 10327"/>
                  <a:gd name="connsiteX54" fmla="*/ 5430 w 9760"/>
                  <a:gd name="connsiteY54" fmla="*/ 8540 h 10327"/>
                  <a:gd name="connsiteX55" fmla="*/ 5510 w 9760"/>
                  <a:gd name="connsiteY55" fmla="*/ 8686 h 10327"/>
                  <a:gd name="connsiteX56" fmla="*/ 5584 w 9760"/>
                  <a:gd name="connsiteY56" fmla="*/ 8838 h 10327"/>
                  <a:gd name="connsiteX57" fmla="*/ 5609 w 9760"/>
                  <a:gd name="connsiteY57" fmla="*/ 9004 h 10327"/>
                  <a:gd name="connsiteX58" fmla="*/ 5643 w 9760"/>
                  <a:gd name="connsiteY58" fmla="*/ 8997 h 10327"/>
                  <a:gd name="connsiteX59" fmla="*/ 5670 w 9760"/>
                  <a:gd name="connsiteY59" fmla="*/ 8997 h 10327"/>
                  <a:gd name="connsiteX60" fmla="*/ 5697 w 9760"/>
                  <a:gd name="connsiteY60" fmla="*/ 8991 h 10327"/>
                  <a:gd name="connsiteX61" fmla="*/ 5723 w 9760"/>
                  <a:gd name="connsiteY61" fmla="*/ 8991 h 10327"/>
                  <a:gd name="connsiteX62" fmla="*/ 5757 w 9760"/>
                  <a:gd name="connsiteY62" fmla="*/ 8984 h 10327"/>
                  <a:gd name="connsiteX63" fmla="*/ 5789 w 9760"/>
                  <a:gd name="connsiteY63" fmla="*/ 8984 h 10327"/>
                  <a:gd name="connsiteX64" fmla="*/ 5817 w 9760"/>
                  <a:gd name="connsiteY64" fmla="*/ 8984 h 10327"/>
                  <a:gd name="connsiteX65" fmla="*/ 5852 w 9760"/>
                  <a:gd name="connsiteY65" fmla="*/ 8984 h 10327"/>
                  <a:gd name="connsiteX66" fmla="*/ 5992 w 9760"/>
                  <a:gd name="connsiteY66" fmla="*/ 8991 h 10327"/>
                  <a:gd name="connsiteX67" fmla="*/ 6120 w 9760"/>
                  <a:gd name="connsiteY67" fmla="*/ 9024 h 10327"/>
                  <a:gd name="connsiteX68" fmla="*/ 6247 w 9760"/>
                  <a:gd name="connsiteY68" fmla="*/ 9070 h 10327"/>
                  <a:gd name="connsiteX69" fmla="*/ 6363 w 9760"/>
                  <a:gd name="connsiteY69" fmla="*/ 9137 h 10327"/>
                  <a:gd name="connsiteX70" fmla="*/ 6469 w 9760"/>
                  <a:gd name="connsiteY70" fmla="*/ 9216 h 10327"/>
                  <a:gd name="connsiteX71" fmla="*/ 6564 w 9760"/>
                  <a:gd name="connsiteY71" fmla="*/ 9302 h 10327"/>
                  <a:gd name="connsiteX72" fmla="*/ 6639 w 9760"/>
                  <a:gd name="connsiteY72" fmla="*/ 9415 h 10327"/>
                  <a:gd name="connsiteX73" fmla="*/ 6706 w 9760"/>
                  <a:gd name="connsiteY73" fmla="*/ 9527 h 10327"/>
                  <a:gd name="connsiteX74" fmla="*/ 2870 w 9760"/>
                  <a:gd name="connsiteY74" fmla="*/ 9527 h 10327"/>
                  <a:gd name="connsiteX75" fmla="*/ 2909 w 9760"/>
                  <a:gd name="connsiteY75" fmla="*/ 9441 h 10327"/>
                  <a:gd name="connsiteX76" fmla="*/ 2963 w 9760"/>
                  <a:gd name="connsiteY76" fmla="*/ 9355 h 10327"/>
                  <a:gd name="connsiteX77" fmla="*/ 3018 w 9760"/>
                  <a:gd name="connsiteY77" fmla="*/ 9289 h 10327"/>
                  <a:gd name="connsiteX78" fmla="*/ 3089 w 9760"/>
                  <a:gd name="connsiteY78" fmla="*/ 9223 h 10327"/>
                  <a:gd name="connsiteX79" fmla="*/ 3157 w 9760"/>
                  <a:gd name="connsiteY79" fmla="*/ 9170 h 10327"/>
                  <a:gd name="connsiteX80" fmla="*/ 3238 w 9760"/>
                  <a:gd name="connsiteY80" fmla="*/ 9117 h 10327"/>
                  <a:gd name="connsiteX81" fmla="*/ 3319 w 9760"/>
                  <a:gd name="connsiteY81" fmla="*/ 9077 h 10327"/>
                  <a:gd name="connsiteX82" fmla="*/ 3414 w 9760"/>
                  <a:gd name="connsiteY82" fmla="*/ 9044 h 10327"/>
                  <a:gd name="connsiteX83" fmla="*/ 3414 w 9760"/>
                  <a:gd name="connsiteY83" fmla="*/ 8195 h 10327"/>
                  <a:gd name="connsiteX84" fmla="*/ 1299 w 9760"/>
                  <a:gd name="connsiteY84" fmla="*/ 8282 h 10327"/>
                  <a:gd name="connsiteX85" fmla="*/ 3 w 9760"/>
                  <a:gd name="connsiteY85" fmla="*/ 7529 h 10327"/>
                  <a:gd name="connsiteX86" fmla="*/ 1864 w 9760"/>
                  <a:gd name="connsiteY86" fmla="*/ 9555 h 10327"/>
                  <a:gd name="connsiteX87" fmla="*/ 5986 w 9760"/>
                  <a:gd name="connsiteY87" fmla="*/ 10294 h 10327"/>
                  <a:gd name="connsiteX88" fmla="*/ 8389 w 9760"/>
                  <a:gd name="connsiteY88" fmla="*/ 9231 h 10327"/>
                  <a:gd name="connsiteX0" fmla="*/ 8595 w 10000"/>
                  <a:gd name="connsiteY0" fmla="*/ 8939 h 9989"/>
                  <a:gd name="connsiteX1" fmla="*/ 10000 w 10000"/>
                  <a:gd name="connsiteY1" fmla="*/ 7147 h 9989"/>
                  <a:gd name="connsiteX2" fmla="*/ 9153 w 10000"/>
                  <a:gd name="connsiteY2" fmla="*/ 7147 h 9989"/>
                  <a:gd name="connsiteX3" fmla="*/ 9153 w 10000"/>
                  <a:gd name="connsiteY3" fmla="*/ 3997 h 9989"/>
                  <a:gd name="connsiteX4" fmla="*/ 7063 w 10000"/>
                  <a:gd name="connsiteY4" fmla="*/ 3997 h 9989"/>
                  <a:gd name="connsiteX5" fmla="*/ 7063 w 10000"/>
                  <a:gd name="connsiteY5" fmla="*/ 3695 h 9989"/>
                  <a:gd name="connsiteX6" fmla="*/ 8734 w 10000"/>
                  <a:gd name="connsiteY6" fmla="*/ 3695 h 9989"/>
                  <a:gd name="connsiteX7" fmla="*/ 8734 w 10000"/>
                  <a:gd name="connsiteY7" fmla="*/ 3387 h 9989"/>
                  <a:gd name="connsiteX8" fmla="*/ 7063 w 10000"/>
                  <a:gd name="connsiteY8" fmla="*/ 3387 h 9989"/>
                  <a:gd name="connsiteX9" fmla="*/ 7063 w 10000"/>
                  <a:gd name="connsiteY9" fmla="*/ 1322 h 9989"/>
                  <a:gd name="connsiteX10" fmla="*/ 4603 w 10000"/>
                  <a:gd name="connsiteY10" fmla="*/ 533 h 9989"/>
                  <a:gd name="connsiteX11" fmla="*/ 4603 w 10000"/>
                  <a:gd name="connsiteY11" fmla="*/ 5492 h 9989"/>
                  <a:gd name="connsiteX12" fmla="*/ 4214 w 10000"/>
                  <a:gd name="connsiteY12" fmla="*/ 5498 h 9989"/>
                  <a:gd name="connsiteX13" fmla="*/ 4214 w 10000"/>
                  <a:gd name="connsiteY13" fmla="*/ 1700 h 9989"/>
                  <a:gd name="connsiteX14" fmla="*/ 3387 w 10000"/>
                  <a:gd name="connsiteY14" fmla="*/ 1996 h 9989"/>
                  <a:gd name="connsiteX15" fmla="*/ 2941 w 10000"/>
                  <a:gd name="connsiteY15" fmla="*/ 1996 h 9989"/>
                  <a:gd name="connsiteX16" fmla="*/ 2941 w 10000"/>
                  <a:gd name="connsiteY16" fmla="*/ 0 h 9989"/>
                  <a:gd name="connsiteX17" fmla="*/ 2776 w 10000"/>
                  <a:gd name="connsiteY17" fmla="*/ 0 h 9989"/>
                  <a:gd name="connsiteX18" fmla="*/ 2776 w 10000"/>
                  <a:gd name="connsiteY18" fmla="*/ 1996 h 9989"/>
                  <a:gd name="connsiteX19" fmla="*/ 2397 w 10000"/>
                  <a:gd name="connsiteY19" fmla="*/ 1996 h 9989"/>
                  <a:gd name="connsiteX20" fmla="*/ 2397 w 10000"/>
                  <a:gd name="connsiteY20" fmla="*/ 2413 h 9989"/>
                  <a:gd name="connsiteX21" fmla="*/ 1715 w 10000"/>
                  <a:gd name="connsiteY21" fmla="*/ 2726 h 9989"/>
                  <a:gd name="connsiteX22" fmla="*/ 1715 w 10000"/>
                  <a:gd name="connsiteY22" fmla="*/ 4273 h 9989"/>
                  <a:gd name="connsiteX23" fmla="*/ 1350 w 10000"/>
                  <a:gd name="connsiteY23" fmla="*/ 4273 h 9989"/>
                  <a:gd name="connsiteX24" fmla="*/ 1350 w 10000"/>
                  <a:gd name="connsiteY24" fmla="*/ 4684 h 9989"/>
                  <a:gd name="connsiteX25" fmla="*/ 1715 w 10000"/>
                  <a:gd name="connsiteY25" fmla="*/ 4684 h 9989"/>
                  <a:gd name="connsiteX26" fmla="*/ 1715 w 10000"/>
                  <a:gd name="connsiteY26" fmla="*/ 5197 h 9989"/>
                  <a:gd name="connsiteX27" fmla="*/ 1350 w 10000"/>
                  <a:gd name="connsiteY27" fmla="*/ 5197 h 9989"/>
                  <a:gd name="connsiteX28" fmla="*/ 1350 w 10000"/>
                  <a:gd name="connsiteY28" fmla="*/ 5608 h 9989"/>
                  <a:gd name="connsiteX29" fmla="*/ 1715 w 10000"/>
                  <a:gd name="connsiteY29" fmla="*/ 5608 h 9989"/>
                  <a:gd name="connsiteX30" fmla="*/ 1715 w 10000"/>
                  <a:gd name="connsiteY30" fmla="*/ 6820 h 9989"/>
                  <a:gd name="connsiteX31" fmla="*/ 628 w 10000"/>
                  <a:gd name="connsiteY31" fmla="*/ 6820 h 9989"/>
                  <a:gd name="connsiteX32" fmla="*/ 628 w 10000"/>
                  <a:gd name="connsiteY32" fmla="*/ 7570 h 9989"/>
                  <a:gd name="connsiteX33" fmla="*/ 1185 w 10000"/>
                  <a:gd name="connsiteY33" fmla="*/ 7590 h 9989"/>
                  <a:gd name="connsiteX34" fmla="*/ 1941 w 10000"/>
                  <a:gd name="connsiteY34" fmla="*/ 7083 h 9989"/>
                  <a:gd name="connsiteX35" fmla="*/ 1934 w 10000"/>
                  <a:gd name="connsiteY35" fmla="*/ 7570 h 9989"/>
                  <a:gd name="connsiteX36" fmla="*/ 2630 w 10000"/>
                  <a:gd name="connsiteY36" fmla="*/ 7135 h 9989"/>
                  <a:gd name="connsiteX37" fmla="*/ 2630 w 10000"/>
                  <a:gd name="connsiteY37" fmla="*/ 7570 h 9989"/>
                  <a:gd name="connsiteX38" fmla="*/ 3318 w 10000"/>
                  <a:gd name="connsiteY38" fmla="*/ 7128 h 9989"/>
                  <a:gd name="connsiteX39" fmla="*/ 3324 w 10000"/>
                  <a:gd name="connsiteY39" fmla="*/ 7564 h 9989"/>
                  <a:gd name="connsiteX40" fmla="*/ 3986 w 10000"/>
                  <a:gd name="connsiteY40" fmla="*/ 7096 h 9989"/>
                  <a:gd name="connsiteX41" fmla="*/ 3986 w 10000"/>
                  <a:gd name="connsiteY41" fmla="*/ 8340 h 9989"/>
                  <a:gd name="connsiteX42" fmla="*/ 4063 w 10000"/>
                  <a:gd name="connsiteY42" fmla="*/ 8250 h 9989"/>
                  <a:gd name="connsiteX43" fmla="*/ 4137 w 10000"/>
                  <a:gd name="connsiteY43" fmla="*/ 8167 h 9989"/>
                  <a:gd name="connsiteX44" fmla="*/ 4230 w 10000"/>
                  <a:gd name="connsiteY44" fmla="*/ 8096 h 9989"/>
                  <a:gd name="connsiteX45" fmla="*/ 4331 w 10000"/>
                  <a:gd name="connsiteY45" fmla="*/ 8032 h 9989"/>
                  <a:gd name="connsiteX46" fmla="*/ 4433 w 10000"/>
                  <a:gd name="connsiteY46" fmla="*/ 7988 h 9989"/>
                  <a:gd name="connsiteX47" fmla="*/ 4543 w 10000"/>
                  <a:gd name="connsiteY47" fmla="*/ 7955 h 9989"/>
                  <a:gd name="connsiteX48" fmla="*/ 4658 w 10000"/>
                  <a:gd name="connsiteY48" fmla="*/ 7930 h 9989"/>
                  <a:gd name="connsiteX49" fmla="*/ 4790 w 10000"/>
                  <a:gd name="connsiteY49" fmla="*/ 7923 h 9989"/>
                  <a:gd name="connsiteX50" fmla="*/ 4970 w 10000"/>
                  <a:gd name="connsiteY50" fmla="*/ 7936 h 9989"/>
                  <a:gd name="connsiteX51" fmla="*/ 5150 w 10000"/>
                  <a:gd name="connsiteY51" fmla="*/ 7981 h 9989"/>
                  <a:gd name="connsiteX52" fmla="*/ 5293 w 10000"/>
                  <a:gd name="connsiteY52" fmla="*/ 8058 h 9989"/>
                  <a:gd name="connsiteX53" fmla="*/ 5440 w 10000"/>
                  <a:gd name="connsiteY53" fmla="*/ 8154 h 9989"/>
                  <a:gd name="connsiteX54" fmla="*/ 5564 w 10000"/>
                  <a:gd name="connsiteY54" fmla="*/ 8270 h 9989"/>
                  <a:gd name="connsiteX55" fmla="*/ 5645 w 10000"/>
                  <a:gd name="connsiteY55" fmla="*/ 8411 h 9989"/>
                  <a:gd name="connsiteX56" fmla="*/ 5721 w 10000"/>
                  <a:gd name="connsiteY56" fmla="*/ 8558 h 9989"/>
                  <a:gd name="connsiteX57" fmla="*/ 5747 w 10000"/>
                  <a:gd name="connsiteY57" fmla="*/ 8719 h 9989"/>
                  <a:gd name="connsiteX58" fmla="*/ 5782 w 10000"/>
                  <a:gd name="connsiteY58" fmla="*/ 8712 h 9989"/>
                  <a:gd name="connsiteX59" fmla="*/ 5809 w 10000"/>
                  <a:gd name="connsiteY59" fmla="*/ 8712 h 9989"/>
                  <a:gd name="connsiteX60" fmla="*/ 5837 w 10000"/>
                  <a:gd name="connsiteY60" fmla="*/ 8706 h 9989"/>
                  <a:gd name="connsiteX61" fmla="*/ 5864 w 10000"/>
                  <a:gd name="connsiteY61" fmla="*/ 8706 h 9989"/>
                  <a:gd name="connsiteX62" fmla="*/ 5899 w 10000"/>
                  <a:gd name="connsiteY62" fmla="*/ 8700 h 9989"/>
                  <a:gd name="connsiteX63" fmla="*/ 5931 w 10000"/>
                  <a:gd name="connsiteY63" fmla="*/ 8700 h 9989"/>
                  <a:gd name="connsiteX64" fmla="*/ 5960 w 10000"/>
                  <a:gd name="connsiteY64" fmla="*/ 8700 h 9989"/>
                  <a:gd name="connsiteX65" fmla="*/ 5996 w 10000"/>
                  <a:gd name="connsiteY65" fmla="*/ 8700 h 9989"/>
                  <a:gd name="connsiteX66" fmla="*/ 6139 w 10000"/>
                  <a:gd name="connsiteY66" fmla="*/ 8706 h 9989"/>
                  <a:gd name="connsiteX67" fmla="*/ 6270 w 10000"/>
                  <a:gd name="connsiteY67" fmla="*/ 8738 h 9989"/>
                  <a:gd name="connsiteX68" fmla="*/ 6401 w 10000"/>
                  <a:gd name="connsiteY68" fmla="*/ 8783 h 9989"/>
                  <a:gd name="connsiteX69" fmla="*/ 6519 w 10000"/>
                  <a:gd name="connsiteY69" fmla="*/ 8848 h 9989"/>
                  <a:gd name="connsiteX70" fmla="*/ 6628 w 10000"/>
                  <a:gd name="connsiteY70" fmla="*/ 8924 h 9989"/>
                  <a:gd name="connsiteX71" fmla="*/ 6725 w 10000"/>
                  <a:gd name="connsiteY71" fmla="*/ 9007 h 9989"/>
                  <a:gd name="connsiteX72" fmla="*/ 6802 w 10000"/>
                  <a:gd name="connsiteY72" fmla="*/ 9117 h 9989"/>
                  <a:gd name="connsiteX73" fmla="*/ 6871 w 10000"/>
                  <a:gd name="connsiteY73" fmla="*/ 9225 h 9989"/>
                  <a:gd name="connsiteX74" fmla="*/ 2941 w 10000"/>
                  <a:gd name="connsiteY74" fmla="*/ 9225 h 9989"/>
                  <a:gd name="connsiteX75" fmla="*/ 2981 w 10000"/>
                  <a:gd name="connsiteY75" fmla="*/ 9142 h 9989"/>
                  <a:gd name="connsiteX76" fmla="*/ 3036 w 10000"/>
                  <a:gd name="connsiteY76" fmla="*/ 9059 h 9989"/>
                  <a:gd name="connsiteX77" fmla="*/ 3092 w 10000"/>
                  <a:gd name="connsiteY77" fmla="*/ 8995 h 9989"/>
                  <a:gd name="connsiteX78" fmla="*/ 3165 w 10000"/>
                  <a:gd name="connsiteY78" fmla="*/ 8931 h 9989"/>
                  <a:gd name="connsiteX79" fmla="*/ 3235 w 10000"/>
                  <a:gd name="connsiteY79" fmla="*/ 8880 h 9989"/>
                  <a:gd name="connsiteX80" fmla="*/ 3318 w 10000"/>
                  <a:gd name="connsiteY80" fmla="*/ 8828 h 9989"/>
                  <a:gd name="connsiteX81" fmla="*/ 3401 w 10000"/>
                  <a:gd name="connsiteY81" fmla="*/ 8790 h 9989"/>
                  <a:gd name="connsiteX82" fmla="*/ 3498 w 10000"/>
                  <a:gd name="connsiteY82" fmla="*/ 8758 h 9989"/>
                  <a:gd name="connsiteX83" fmla="*/ 3498 w 10000"/>
                  <a:gd name="connsiteY83" fmla="*/ 7936 h 9989"/>
                  <a:gd name="connsiteX84" fmla="*/ 1331 w 10000"/>
                  <a:gd name="connsiteY84" fmla="*/ 8020 h 9989"/>
                  <a:gd name="connsiteX85" fmla="*/ 3 w 10000"/>
                  <a:gd name="connsiteY85" fmla="*/ 7291 h 9989"/>
                  <a:gd name="connsiteX86" fmla="*/ 2409 w 10000"/>
                  <a:gd name="connsiteY86" fmla="*/ 9442 h 9989"/>
                  <a:gd name="connsiteX87" fmla="*/ 6133 w 10000"/>
                  <a:gd name="connsiteY87" fmla="*/ 9968 h 9989"/>
                  <a:gd name="connsiteX88" fmla="*/ 8595 w 10000"/>
                  <a:gd name="connsiteY88" fmla="*/ 8939 h 9989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00"/>
                  <a:gd name="connsiteY0" fmla="*/ 8949 h 10042"/>
                  <a:gd name="connsiteX1" fmla="*/ 10000 w 10000"/>
                  <a:gd name="connsiteY1" fmla="*/ 7155 h 10042"/>
                  <a:gd name="connsiteX2" fmla="*/ 9153 w 10000"/>
                  <a:gd name="connsiteY2" fmla="*/ 7155 h 10042"/>
                  <a:gd name="connsiteX3" fmla="*/ 9153 w 10000"/>
                  <a:gd name="connsiteY3" fmla="*/ 4001 h 10042"/>
                  <a:gd name="connsiteX4" fmla="*/ 7063 w 10000"/>
                  <a:gd name="connsiteY4" fmla="*/ 4001 h 10042"/>
                  <a:gd name="connsiteX5" fmla="*/ 7063 w 10000"/>
                  <a:gd name="connsiteY5" fmla="*/ 3699 h 10042"/>
                  <a:gd name="connsiteX6" fmla="*/ 8734 w 10000"/>
                  <a:gd name="connsiteY6" fmla="*/ 3699 h 10042"/>
                  <a:gd name="connsiteX7" fmla="*/ 8734 w 10000"/>
                  <a:gd name="connsiteY7" fmla="*/ 3391 h 10042"/>
                  <a:gd name="connsiteX8" fmla="*/ 7063 w 10000"/>
                  <a:gd name="connsiteY8" fmla="*/ 3391 h 10042"/>
                  <a:gd name="connsiteX9" fmla="*/ 7063 w 10000"/>
                  <a:gd name="connsiteY9" fmla="*/ 1323 h 10042"/>
                  <a:gd name="connsiteX10" fmla="*/ 4603 w 10000"/>
                  <a:gd name="connsiteY10" fmla="*/ 534 h 10042"/>
                  <a:gd name="connsiteX11" fmla="*/ 4603 w 10000"/>
                  <a:gd name="connsiteY11" fmla="*/ 5498 h 10042"/>
                  <a:gd name="connsiteX12" fmla="*/ 4214 w 10000"/>
                  <a:gd name="connsiteY12" fmla="*/ 5504 h 10042"/>
                  <a:gd name="connsiteX13" fmla="*/ 4214 w 10000"/>
                  <a:gd name="connsiteY13" fmla="*/ 1702 h 10042"/>
                  <a:gd name="connsiteX14" fmla="*/ 3387 w 10000"/>
                  <a:gd name="connsiteY14" fmla="*/ 1998 h 10042"/>
                  <a:gd name="connsiteX15" fmla="*/ 2941 w 10000"/>
                  <a:gd name="connsiteY15" fmla="*/ 1998 h 10042"/>
                  <a:gd name="connsiteX16" fmla="*/ 2941 w 10000"/>
                  <a:gd name="connsiteY16" fmla="*/ 0 h 10042"/>
                  <a:gd name="connsiteX17" fmla="*/ 2776 w 10000"/>
                  <a:gd name="connsiteY17" fmla="*/ 0 h 10042"/>
                  <a:gd name="connsiteX18" fmla="*/ 2776 w 10000"/>
                  <a:gd name="connsiteY18" fmla="*/ 1998 h 10042"/>
                  <a:gd name="connsiteX19" fmla="*/ 2397 w 10000"/>
                  <a:gd name="connsiteY19" fmla="*/ 1998 h 10042"/>
                  <a:gd name="connsiteX20" fmla="*/ 2397 w 10000"/>
                  <a:gd name="connsiteY20" fmla="*/ 2416 h 10042"/>
                  <a:gd name="connsiteX21" fmla="*/ 1715 w 10000"/>
                  <a:gd name="connsiteY21" fmla="*/ 2729 h 10042"/>
                  <a:gd name="connsiteX22" fmla="*/ 1715 w 10000"/>
                  <a:gd name="connsiteY22" fmla="*/ 4278 h 10042"/>
                  <a:gd name="connsiteX23" fmla="*/ 1350 w 10000"/>
                  <a:gd name="connsiteY23" fmla="*/ 4278 h 10042"/>
                  <a:gd name="connsiteX24" fmla="*/ 1350 w 10000"/>
                  <a:gd name="connsiteY24" fmla="*/ 4689 h 10042"/>
                  <a:gd name="connsiteX25" fmla="*/ 1715 w 10000"/>
                  <a:gd name="connsiteY25" fmla="*/ 4689 h 10042"/>
                  <a:gd name="connsiteX26" fmla="*/ 1715 w 10000"/>
                  <a:gd name="connsiteY26" fmla="*/ 5203 h 10042"/>
                  <a:gd name="connsiteX27" fmla="*/ 1350 w 10000"/>
                  <a:gd name="connsiteY27" fmla="*/ 5203 h 10042"/>
                  <a:gd name="connsiteX28" fmla="*/ 1350 w 10000"/>
                  <a:gd name="connsiteY28" fmla="*/ 5614 h 10042"/>
                  <a:gd name="connsiteX29" fmla="*/ 1715 w 10000"/>
                  <a:gd name="connsiteY29" fmla="*/ 5614 h 10042"/>
                  <a:gd name="connsiteX30" fmla="*/ 1715 w 10000"/>
                  <a:gd name="connsiteY30" fmla="*/ 6828 h 10042"/>
                  <a:gd name="connsiteX31" fmla="*/ 628 w 10000"/>
                  <a:gd name="connsiteY31" fmla="*/ 6828 h 10042"/>
                  <a:gd name="connsiteX32" fmla="*/ 628 w 10000"/>
                  <a:gd name="connsiteY32" fmla="*/ 7578 h 10042"/>
                  <a:gd name="connsiteX33" fmla="*/ 1185 w 10000"/>
                  <a:gd name="connsiteY33" fmla="*/ 7598 h 10042"/>
                  <a:gd name="connsiteX34" fmla="*/ 1941 w 10000"/>
                  <a:gd name="connsiteY34" fmla="*/ 7091 h 10042"/>
                  <a:gd name="connsiteX35" fmla="*/ 1934 w 10000"/>
                  <a:gd name="connsiteY35" fmla="*/ 7578 h 10042"/>
                  <a:gd name="connsiteX36" fmla="*/ 2630 w 10000"/>
                  <a:gd name="connsiteY36" fmla="*/ 7143 h 10042"/>
                  <a:gd name="connsiteX37" fmla="*/ 2630 w 10000"/>
                  <a:gd name="connsiteY37" fmla="*/ 7578 h 10042"/>
                  <a:gd name="connsiteX38" fmla="*/ 3318 w 10000"/>
                  <a:gd name="connsiteY38" fmla="*/ 7136 h 10042"/>
                  <a:gd name="connsiteX39" fmla="*/ 3324 w 10000"/>
                  <a:gd name="connsiteY39" fmla="*/ 7572 h 10042"/>
                  <a:gd name="connsiteX40" fmla="*/ 3986 w 10000"/>
                  <a:gd name="connsiteY40" fmla="*/ 7104 h 10042"/>
                  <a:gd name="connsiteX41" fmla="*/ 3986 w 10000"/>
                  <a:gd name="connsiteY41" fmla="*/ 8349 h 10042"/>
                  <a:gd name="connsiteX42" fmla="*/ 4063 w 10000"/>
                  <a:gd name="connsiteY42" fmla="*/ 8259 h 10042"/>
                  <a:gd name="connsiteX43" fmla="*/ 4137 w 10000"/>
                  <a:gd name="connsiteY43" fmla="*/ 8176 h 10042"/>
                  <a:gd name="connsiteX44" fmla="*/ 4230 w 10000"/>
                  <a:gd name="connsiteY44" fmla="*/ 8105 h 10042"/>
                  <a:gd name="connsiteX45" fmla="*/ 4331 w 10000"/>
                  <a:gd name="connsiteY45" fmla="*/ 8041 h 10042"/>
                  <a:gd name="connsiteX46" fmla="*/ 4433 w 10000"/>
                  <a:gd name="connsiteY46" fmla="*/ 7997 h 10042"/>
                  <a:gd name="connsiteX47" fmla="*/ 4543 w 10000"/>
                  <a:gd name="connsiteY47" fmla="*/ 7964 h 10042"/>
                  <a:gd name="connsiteX48" fmla="*/ 4658 w 10000"/>
                  <a:gd name="connsiteY48" fmla="*/ 7939 h 10042"/>
                  <a:gd name="connsiteX49" fmla="*/ 4790 w 10000"/>
                  <a:gd name="connsiteY49" fmla="*/ 7932 h 10042"/>
                  <a:gd name="connsiteX50" fmla="*/ 4970 w 10000"/>
                  <a:gd name="connsiteY50" fmla="*/ 7945 h 10042"/>
                  <a:gd name="connsiteX51" fmla="*/ 5150 w 10000"/>
                  <a:gd name="connsiteY51" fmla="*/ 7990 h 10042"/>
                  <a:gd name="connsiteX52" fmla="*/ 5293 w 10000"/>
                  <a:gd name="connsiteY52" fmla="*/ 8067 h 10042"/>
                  <a:gd name="connsiteX53" fmla="*/ 5440 w 10000"/>
                  <a:gd name="connsiteY53" fmla="*/ 8163 h 10042"/>
                  <a:gd name="connsiteX54" fmla="*/ 5564 w 10000"/>
                  <a:gd name="connsiteY54" fmla="*/ 8279 h 10042"/>
                  <a:gd name="connsiteX55" fmla="*/ 5645 w 10000"/>
                  <a:gd name="connsiteY55" fmla="*/ 8420 h 10042"/>
                  <a:gd name="connsiteX56" fmla="*/ 5721 w 10000"/>
                  <a:gd name="connsiteY56" fmla="*/ 8567 h 10042"/>
                  <a:gd name="connsiteX57" fmla="*/ 5747 w 10000"/>
                  <a:gd name="connsiteY57" fmla="*/ 8729 h 10042"/>
                  <a:gd name="connsiteX58" fmla="*/ 5782 w 10000"/>
                  <a:gd name="connsiteY58" fmla="*/ 8722 h 10042"/>
                  <a:gd name="connsiteX59" fmla="*/ 5809 w 10000"/>
                  <a:gd name="connsiteY59" fmla="*/ 8722 h 10042"/>
                  <a:gd name="connsiteX60" fmla="*/ 5837 w 10000"/>
                  <a:gd name="connsiteY60" fmla="*/ 8716 h 10042"/>
                  <a:gd name="connsiteX61" fmla="*/ 5864 w 10000"/>
                  <a:gd name="connsiteY61" fmla="*/ 8716 h 10042"/>
                  <a:gd name="connsiteX62" fmla="*/ 5899 w 10000"/>
                  <a:gd name="connsiteY62" fmla="*/ 8710 h 10042"/>
                  <a:gd name="connsiteX63" fmla="*/ 5931 w 10000"/>
                  <a:gd name="connsiteY63" fmla="*/ 8710 h 10042"/>
                  <a:gd name="connsiteX64" fmla="*/ 5960 w 10000"/>
                  <a:gd name="connsiteY64" fmla="*/ 8710 h 10042"/>
                  <a:gd name="connsiteX65" fmla="*/ 5996 w 10000"/>
                  <a:gd name="connsiteY65" fmla="*/ 8710 h 10042"/>
                  <a:gd name="connsiteX66" fmla="*/ 6139 w 10000"/>
                  <a:gd name="connsiteY66" fmla="*/ 8716 h 10042"/>
                  <a:gd name="connsiteX67" fmla="*/ 6270 w 10000"/>
                  <a:gd name="connsiteY67" fmla="*/ 8748 h 10042"/>
                  <a:gd name="connsiteX68" fmla="*/ 6401 w 10000"/>
                  <a:gd name="connsiteY68" fmla="*/ 8793 h 10042"/>
                  <a:gd name="connsiteX69" fmla="*/ 6519 w 10000"/>
                  <a:gd name="connsiteY69" fmla="*/ 8858 h 10042"/>
                  <a:gd name="connsiteX70" fmla="*/ 6628 w 10000"/>
                  <a:gd name="connsiteY70" fmla="*/ 8934 h 10042"/>
                  <a:gd name="connsiteX71" fmla="*/ 6725 w 10000"/>
                  <a:gd name="connsiteY71" fmla="*/ 9017 h 10042"/>
                  <a:gd name="connsiteX72" fmla="*/ 6802 w 10000"/>
                  <a:gd name="connsiteY72" fmla="*/ 9127 h 10042"/>
                  <a:gd name="connsiteX73" fmla="*/ 6871 w 10000"/>
                  <a:gd name="connsiteY73" fmla="*/ 9235 h 10042"/>
                  <a:gd name="connsiteX74" fmla="*/ 2941 w 10000"/>
                  <a:gd name="connsiteY74" fmla="*/ 9235 h 10042"/>
                  <a:gd name="connsiteX75" fmla="*/ 2981 w 10000"/>
                  <a:gd name="connsiteY75" fmla="*/ 9152 h 10042"/>
                  <a:gd name="connsiteX76" fmla="*/ 3036 w 10000"/>
                  <a:gd name="connsiteY76" fmla="*/ 9069 h 10042"/>
                  <a:gd name="connsiteX77" fmla="*/ 3092 w 10000"/>
                  <a:gd name="connsiteY77" fmla="*/ 9005 h 10042"/>
                  <a:gd name="connsiteX78" fmla="*/ 3165 w 10000"/>
                  <a:gd name="connsiteY78" fmla="*/ 8941 h 10042"/>
                  <a:gd name="connsiteX79" fmla="*/ 3235 w 10000"/>
                  <a:gd name="connsiteY79" fmla="*/ 8890 h 10042"/>
                  <a:gd name="connsiteX80" fmla="*/ 3318 w 10000"/>
                  <a:gd name="connsiteY80" fmla="*/ 8838 h 10042"/>
                  <a:gd name="connsiteX81" fmla="*/ 3401 w 10000"/>
                  <a:gd name="connsiteY81" fmla="*/ 8800 h 10042"/>
                  <a:gd name="connsiteX82" fmla="*/ 3498 w 10000"/>
                  <a:gd name="connsiteY82" fmla="*/ 8768 h 10042"/>
                  <a:gd name="connsiteX83" fmla="*/ 3498 w 10000"/>
                  <a:gd name="connsiteY83" fmla="*/ 7945 h 10042"/>
                  <a:gd name="connsiteX84" fmla="*/ 1331 w 10000"/>
                  <a:gd name="connsiteY84" fmla="*/ 8029 h 10042"/>
                  <a:gd name="connsiteX85" fmla="*/ 3 w 10000"/>
                  <a:gd name="connsiteY85" fmla="*/ 7299 h 10042"/>
                  <a:gd name="connsiteX86" fmla="*/ 2409 w 10000"/>
                  <a:gd name="connsiteY86" fmla="*/ 9452 h 10042"/>
                  <a:gd name="connsiteX87" fmla="*/ 6133 w 10000"/>
                  <a:gd name="connsiteY87" fmla="*/ 9979 h 10042"/>
                  <a:gd name="connsiteX88" fmla="*/ 8595 w 10000"/>
                  <a:gd name="connsiteY88" fmla="*/ 8949 h 10042"/>
                  <a:gd name="connsiteX0" fmla="*/ 8595 w 10047"/>
                  <a:gd name="connsiteY0" fmla="*/ 8949 h 10042"/>
                  <a:gd name="connsiteX1" fmla="*/ 10000 w 10047"/>
                  <a:gd name="connsiteY1" fmla="*/ 7155 h 10042"/>
                  <a:gd name="connsiteX2" fmla="*/ 9153 w 10047"/>
                  <a:gd name="connsiteY2" fmla="*/ 7155 h 10042"/>
                  <a:gd name="connsiteX3" fmla="*/ 9153 w 10047"/>
                  <a:gd name="connsiteY3" fmla="*/ 4001 h 10042"/>
                  <a:gd name="connsiteX4" fmla="*/ 7063 w 10047"/>
                  <a:gd name="connsiteY4" fmla="*/ 4001 h 10042"/>
                  <a:gd name="connsiteX5" fmla="*/ 7063 w 10047"/>
                  <a:gd name="connsiteY5" fmla="*/ 3699 h 10042"/>
                  <a:gd name="connsiteX6" fmla="*/ 8734 w 10047"/>
                  <a:gd name="connsiteY6" fmla="*/ 3699 h 10042"/>
                  <a:gd name="connsiteX7" fmla="*/ 8734 w 10047"/>
                  <a:gd name="connsiteY7" fmla="*/ 3391 h 10042"/>
                  <a:gd name="connsiteX8" fmla="*/ 7063 w 10047"/>
                  <a:gd name="connsiteY8" fmla="*/ 3391 h 10042"/>
                  <a:gd name="connsiteX9" fmla="*/ 7063 w 10047"/>
                  <a:gd name="connsiteY9" fmla="*/ 1323 h 10042"/>
                  <a:gd name="connsiteX10" fmla="*/ 4603 w 10047"/>
                  <a:gd name="connsiteY10" fmla="*/ 534 h 10042"/>
                  <a:gd name="connsiteX11" fmla="*/ 4603 w 10047"/>
                  <a:gd name="connsiteY11" fmla="*/ 5498 h 10042"/>
                  <a:gd name="connsiteX12" fmla="*/ 4214 w 10047"/>
                  <a:gd name="connsiteY12" fmla="*/ 5504 h 10042"/>
                  <a:gd name="connsiteX13" fmla="*/ 4214 w 10047"/>
                  <a:gd name="connsiteY13" fmla="*/ 1702 h 10042"/>
                  <a:gd name="connsiteX14" fmla="*/ 3387 w 10047"/>
                  <a:gd name="connsiteY14" fmla="*/ 1998 h 10042"/>
                  <a:gd name="connsiteX15" fmla="*/ 2941 w 10047"/>
                  <a:gd name="connsiteY15" fmla="*/ 1998 h 10042"/>
                  <a:gd name="connsiteX16" fmla="*/ 2941 w 10047"/>
                  <a:gd name="connsiteY16" fmla="*/ 0 h 10042"/>
                  <a:gd name="connsiteX17" fmla="*/ 2776 w 10047"/>
                  <a:gd name="connsiteY17" fmla="*/ 0 h 10042"/>
                  <a:gd name="connsiteX18" fmla="*/ 2776 w 10047"/>
                  <a:gd name="connsiteY18" fmla="*/ 1998 h 10042"/>
                  <a:gd name="connsiteX19" fmla="*/ 2397 w 10047"/>
                  <a:gd name="connsiteY19" fmla="*/ 1998 h 10042"/>
                  <a:gd name="connsiteX20" fmla="*/ 2397 w 10047"/>
                  <a:gd name="connsiteY20" fmla="*/ 2416 h 10042"/>
                  <a:gd name="connsiteX21" fmla="*/ 1715 w 10047"/>
                  <a:gd name="connsiteY21" fmla="*/ 2729 h 10042"/>
                  <a:gd name="connsiteX22" fmla="*/ 1715 w 10047"/>
                  <a:gd name="connsiteY22" fmla="*/ 4278 h 10042"/>
                  <a:gd name="connsiteX23" fmla="*/ 1350 w 10047"/>
                  <a:gd name="connsiteY23" fmla="*/ 4278 h 10042"/>
                  <a:gd name="connsiteX24" fmla="*/ 1350 w 10047"/>
                  <a:gd name="connsiteY24" fmla="*/ 4689 h 10042"/>
                  <a:gd name="connsiteX25" fmla="*/ 1715 w 10047"/>
                  <a:gd name="connsiteY25" fmla="*/ 4689 h 10042"/>
                  <a:gd name="connsiteX26" fmla="*/ 1715 w 10047"/>
                  <a:gd name="connsiteY26" fmla="*/ 5203 h 10042"/>
                  <a:gd name="connsiteX27" fmla="*/ 1350 w 10047"/>
                  <a:gd name="connsiteY27" fmla="*/ 5203 h 10042"/>
                  <a:gd name="connsiteX28" fmla="*/ 1350 w 10047"/>
                  <a:gd name="connsiteY28" fmla="*/ 5614 h 10042"/>
                  <a:gd name="connsiteX29" fmla="*/ 1715 w 10047"/>
                  <a:gd name="connsiteY29" fmla="*/ 5614 h 10042"/>
                  <a:gd name="connsiteX30" fmla="*/ 1715 w 10047"/>
                  <a:gd name="connsiteY30" fmla="*/ 6828 h 10042"/>
                  <a:gd name="connsiteX31" fmla="*/ 628 w 10047"/>
                  <a:gd name="connsiteY31" fmla="*/ 6828 h 10042"/>
                  <a:gd name="connsiteX32" fmla="*/ 628 w 10047"/>
                  <a:gd name="connsiteY32" fmla="*/ 7578 h 10042"/>
                  <a:gd name="connsiteX33" fmla="*/ 1185 w 10047"/>
                  <a:gd name="connsiteY33" fmla="*/ 7598 h 10042"/>
                  <a:gd name="connsiteX34" fmla="*/ 1941 w 10047"/>
                  <a:gd name="connsiteY34" fmla="*/ 7091 h 10042"/>
                  <a:gd name="connsiteX35" fmla="*/ 1934 w 10047"/>
                  <a:gd name="connsiteY35" fmla="*/ 7578 h 10042"/>
                  <a:gd name="connsiteX36" fmla="*/ 2630 w 10047"/>
                  <a:gd name="connsiteY36" fmla="*/ 7143 h 10042"/>
                  <a:gd name="connsiteX37" fmla="*/ 2630 w 10047"/>
                  <a:gd name="connsiteY37" fmla="*/ 7578 h 10042"/>
                  <a:gd name="connsiteX38" fmla="*/ 3318 w 10047"/>
                  <a:gd name="connsiteY38" fmla="*/ 7136 h 10042"/>
                  <a:gd name="connsiteX39" fmla="*/ 3324 w 10047"/>
                  <a:gd name="connsiteY39" fmla="*/ 7572 h 10042"/>
                  <a:gd name="connsiteX40" fmla="*/ 3986 w 10047"/>
                  <a:gd name="connsiteY40" fmla="*/ 7104 h 10042"/>
                  <a:gd name="connsiteX41" fmla="*/ 3986 w 10047"/>
                  <a:gd name="connsiteY41" fmla="*/ 8349 h 10042"/>
                  <a:gd name="connsiteX42" fmla="*/ 4063 w 10047"/>
                  <a:gd name="connsiteY42" fmla="*/ 8259 h 10042"/>
                  <a:gd name="connsiteX43" fmla="*/ 4137 w 10047"/>
                  <a:gd name="connsiteY43" fmla="*/ 8176 h 10042"/>
                  <a:gd name="connsiteX44" fmla="*/ 4230 w 10047"/>
                  <a:gd name="connsiteY44" fmla="*/ 8105 h 10042"/>
                  <a:gd name="connsiteX45" fmla="*/ 4331 w 10047"/>
                  <a:gd name="connsiteY45" fmla="*/ 8041 h 10042"/>
                  <a:gd name="connsiteX46" fmla="*/ 4433 w 10047"/>
                  <a:gd name="connsiteY46" fmla="*/ 7997 h 10042"/>
                  <a:gd name="connsiteX47" fmla="*/ 4543 w 10047"/>
                  <a:gd name="connsiteY47" fmla="*/ 7964 h 10042"/>
                  <a:gd name="connsiteX48" fmla="*/ 4658 w 10047"/>
                  <a:gd name="connsiteY48" fmla="*/ 7939 h 10042"/>
                  <a:gd name="connsiteX49" fmla="*/ 4790 w 10047"/>
                  <a:gd name="connsiteY49" fmla="*/ 7932 h 10042"/>
                  <a:gd name="connsiteX50" fmla="*/ 4970 w 10047"/>
                  <a:gd name="connsiteY50" fmla="*/ 7945 h 10042"/>
                  <a:gd name="connsiteX51" fmla="*/ 5150 w 10047"/>
                  <a:gd name="connsiteY51" fmla="*/ 7990 h 10042"/>
                  <a:gd name="connsiteX52" fmla="*/ 5293 w 10047"/>
                  <a:gd name="connsiteY52" fmla="*/ 8067 h 10042"/>
                  <a:gd name="connsiteX53" fmla="*/ 5440 w 10047"/>
                  <a:gd name="connsiteY53" fmla="*/ 8163 h 10042"/>
                  <a:gd name="connsiteX54" fmla="*/ 5564 w 10047"/>
                  <a:gd name="connsiteY54" fmla="*/ 8279 h 10042"/>
                  <a:gd name="connsiteX55" fmla="*/ 5645 w 10047"/>
                  <a:gd name="connsiteY55" fmla="*/ 8420 h 10042"/>
                  <a:gd name="connsiteX56" fmla="*/ 5721 w 10047"/>
                  <a:gd name="connsiteY56" fmla="*/ 8567 h 10042"/>
                  <a:gd name="connsiteX57" fmla="*/ 5747 w 10047"/>
                  <a:gd name="connsiteY57" fmla="*/ 8729 h 10042"/>
                  <a:gd name="connsiteX58" fmla="*/ 5782 w 10047"/>
                  <a:gd name="connsiteY58" fmla="*/ 8722 h 10042"/>
                  <a:gd name="connsiteX59" fmla="*/ 5809 w 10047"/>
                  <a:gd name="connsiteY59" fmla="*/ 8722 h 10042"/>
                  <a:gd name="connsiteX60" fmla="*/ 5837 w 10047"/>
                  <a:gd name="connsiteY60" fmla="*/ 8716 h 10042"/>
                  <a:gd name="connsiteX61" fmla="*/ 5864 w 10047"/>
                  <a:gd name="connsiteY61" fmla="*/ 8716 h 10042"/>
                  <a:gd name="connsiteX62" fmla="*/ 5899 w 10047"/>
                  <a:gd name="connsiteY62" fmla="*/ 8710 h 10042"/>
                  <a:gd name="connsiteX63" fmla="*/ 5931 w 10047"/>
                  <a:gd name="connsiteY63" fmla="*/ 8710 h 10042"/>
                  <a:gd name="connsiteX64" fmla="*/ 5960 w 10047"/>
                  <a:gd name="connsiteY64" fmla="*/ 8710 h 10042"/>
                  <a:gd name="connsiteX65" fmla="*/ 5996 w 10047"/>
                  <a:gd name="connsiteY65" fmla="*/ 8710 h 10042"/>
                  <a:gd name="connsiteX66" fmla="*/ 6139 w 10047"/>
                  <a:gd name="connsiteY66" fmla="*/ 8716 h 10042"/>
                  <a:gd name="connsiteX67" fmla="*/ 6270 w 10047"/>
                  <a:gd name="connsiteY67" fmla="*/ 8748 h 10042"/>
                  <a:gd name="connsiteX68" fmla="*/ 6401 w 10047"/>
                  <a:gd name="connsiteY68" fmla="*/ 8793 h 10042"/>
                  <a:gd name="connsiteX69" fmla="*/ 6519 w 10047"/>
                  <a:gd name="connsiteY69" fmla="*/ 8858 h 10042"/>
                  <a:gd name="connsiteX70" fmla="*/ 6628 w 10047"/>
                  <a:gd name="connsiteY70" fmla="*/ 8934 h 10042"/>
                  <a:gd name="connsiteX71" fmla="*/ 6725 w 10047"/>
                  <a:gd name="connsiteY71" fmla="*/ 9017 h 10042"/>
                  <a:gd name="connsiteX72" fmla="*/ 6802 w 10047"/>
                  <a:gd name="connsiteY72" fmla="*/ 9127 h 10042"/>
                  <a:gd name="connsiteX73" fmla="*/ 6871 w 10047"/>
                  <a:gd name="connsiteY73" fmla="*/ 9235 h 10042"/>
                  <a:gd name="connsiteX74" fmla="*/ 2941 w 10047"/>
                  <a:gd name="connsiteY74" fmla="*/ 9235 h 10042"/>
                  <a:gd name="connsiteX75" fmla="*/ 2981 w 10047"/>
                  <a:gd name="connsiteY75" fmla="*/ 9152 h 10042"/>
                  <a:gd name="connsiteX76" fmla="*/ 3036 w 10047"/>
                  <a:gd name="connsiteY76" fmla="*/ 9069 h 10042"/>
                  <a:gd name="connsiteX77" fmla="*/ 3092 w 10047"/>
                  <a:gd name="connsiteY77" fmla="*/ 9005 h 10042"/>
                  <a:gd name="connsiteX78" fmla="*/ 3165 w 10047"/>
                  <a:gd name="connsiteY78" fmla="*/ 8941 h 10042"/>
                  <a:gd name="connsiteX79" fmla="*/ 3235 w 10047"/>
                  <a:gd name="connsiteY79" fmla="*/ 8890 h 10042"/>
                  <a:gd name="connsiteX80" fmla="*/ 3318 w 10047"/>
                  <a:gd name="connsiteY80" fmla="*/ 8838 h 10042"/>
                  <a:gd name="connsiteX81" fmla="*/ 3401 w 10047"/>
                  <a:gd name="connsiteY81" fmla="*/ 8800 h 10042"/>
                  <a:gd name="connsiteX82" fmla="*/ 3498 w 10047"/>
                  <a:gd name="connsiteY82" fmla="*/ 8768 h 10042"/>
                  <a:gd name="connsiteX83" fmla="*/ 3498 w 10047"/>
                  <a:gd name="connsiteY83" fmla="*/ 7945 h 10042"/>
                  <a:gd name="connsiteX84" fmla="*/ 1331 w 10047"/>
                  <a:gd name="connsiteY84" fmla="*/ 8029 h 10042"/>
                  <a:gd name="connsiteX85" fmla="*/ 3 w 10047"/>
                  <a:gd name="connsiteY85" fmla="*/ 7299 h 10042"/>
                  <a:gd name="connsiteX86" fmla="*/ 2409 w 10047"/>
                  <a:gd name="connsiteY86" fmla="*/ 9452 h 10042"/>
                  <a:gd name="connsiteX87" fmla="*/ 6133 w 10047"/>
                  <a:gd name="connsiteY87" fmla="*/ 9979 h 10042"/>
                  <a:gd name="connsiteX88" fmla="*/ 8595 w 10047"/>
                  <a:gd name="connsiteY88" fmla="*/ 8949 h 10042"/>
                  <a:gd name="connsiteX0" fmla="*/ 8198 w 9650"/>
                  <a:gd name="connsiteY0" fmla="*/ 8949 h 9996"/>
                  <a:gd name="connsiteX1" fmla="*/ 9603 w 9650"/>
                  <a:gd name="connsiteY1" fmla="*/ 7155 h 9996"/>
                  <a:gd name="connsiteX2" fmla="*/ 8756 w 9650"/>
                  <a:gd name="connsiteY2" fmla="*/ 7155 h 9996"/>
                  <a:gd name="connsiteX3" fmla="*/ 8756 w 9650"/>
                  <a:gd name="connsiteY3" fmla="*/ 4001 h 9996"/>
                  <a:gd name="connsiteX4" fmla="*/ 6666 w 9650"/>
                  <a:gd name="connsiteY4" fmla="*/ 4001 h 9996"/>
                  <a:gd name="connsiteX5" fmla="*/ 6666 w 9650"/>
                  <a:gd name="connsiteY5" fmla="*/ 3699 h 9996"/>
                  <a:gd name="connsiteX6" fmla="*/ 8337 w 9650"/>
                  <a:gd name="connsiteY6" fmla="*/ 3699 h 9996"/>
                  <a:gd name="connsiteX7" fmla="*/ 8337 w 9650"/>
                  <a:gd name="connsiteY7" fmla="*/ 3391 h 9996"/>
                  <a:gd name="connsiteX8" fmla="*/ 6666 w 9650"/>
                  <a:gd name="connsiteY8" fmla="*/ 3391 h 9996"/>
                  <a:gd name="connsiteX9" fmla="*/ 6666 w 9650"/>
                  <a:gd name="connsiteY9" fmla="*/ 1323 h 9996"/>
                  <a:gd name="connsiteX10" fmla="*/ 4206 w 9650"/>
                  <a:gd name="connsiteY10" fmla="*/ 534 h 9996"/>
                  <a:gd name="connsiteX11" fmla="*/ 4206 w 9650"/>
                  <a:gd name="connsiteY11" fmla="*/ 5498 h 9996"/>
                  <a:gd name="connsiteX12" fmla="*/ 3817 w 9650"/>
                  <a:gd name="connsiteY12" fmla="*/ 5504 h 9996"/>
                  <a:gd name="connsiteX13" fmla="*/ 3817 w 9650"/>
                  <a:gd name="connsiteY13" fmla="*/ 1702 h 9996"/>
                  <a:gd name="connsiteX14" fmla="*/ 2990 w 9650"/>
                  <a:gd name="connsiteY14" fmla="*/ 1998 h 9996"/>
                  <a:gd name="connsiteX15" fmla="*/ 2544 w 9650"/>
                  <a:gd name="connsiteY15" fmla="*/ 1998 h 9996"/>
                  <a:gd name="connsiteX16" fmla="*/ 2544 w 9650"/>
                  <a:gd name="connsiteY16" fmla="*/ 0 h 9996"/>
                  <a:gd name="connsiteX17" fmla="*/ 2379 w 9650"/>
                  <a:gd name="connsiteY17" fmla="*/ 0 h 9996"/>
                  <a:gd name="connsiteX18" fmla="*/ 2379 w 9650"/>
                  <a:gd name="connsiteY18" fmla="*/ 1998 h 9996"/>
                  <a:gd name="connsiteX19" fmla="*/ 2000 w 9650"/>
                  <a:gd name="connsiteY19" fmla="*/ 1998 h 9996"/>
                  <a:gd name="connsiteX20" fmla="*/ 2000 w 9650"/>
                  <a:gd name="connsiteY20" fmla="*/ 2416 h 9996"/>
                  <a:gd name="connsiteX21" fmla="*/ 1318 w 9650"/>
                  <a:gd name="connsiteY21" fmla="*/ 2729 h 9996"/>
                  <a:gd name="connsiteX22" fmla="*/ 1318 w 9650"/>
                  <a:gd name="connsiteY22" fmla="*/ 4278 h 9996"/>
                  <a:gd name="connsiteX23" fmla="*/ 953 w 9650"/>
                  <a:gd name="connsiteY23" fmla="*/ 4278 h 9996"/>
                  <a:gd name="connsiteX24" fmla="*/ 953 w 9650"/>
                  <a:gd name="connsiteY24" fmla="*/ 4689 h 9996"/>
                  <a:gd name="connsiteX25" fmla="*/ 1318 w 9650"/>
                  <a:gd name="connsiteY25" fmla="*/ 4689 h 9996"/>
                  <a:gd name="connsiteX26" fmla="*/ 1318 w 9650"/>
                  <a:gd name="connsiteY26" fmla="*/ 5203 h 9996"/>
                  <a:gd name="connsiteX27" fmla="*/ 953 w 9650"/>
                  <a:gd name="connsiteY27" fmla="*/ 5203 h 9996"/>
                  <a:gd name="connsiteX28" fmla="*/ 953 w 9650"/>
                  <a:gd name="connsiteY28" fmla="*/ 5614 h 9996"/>
                  <a:gd name="connsiteX29" fmla="*/ 1318 w 9650"/>
                  <a:gd name="connsiteY29" fmla="*/ 5614 h 9996"/>
                  <a:gd name="connsiteX30" fmla="*/ 1318 w 9650"/>
                  <a:gd name="connsiteY30" fmla="*/ 6828 h 9996"/>
                  <a:gd name="connsiteX31" fmla="*/ 231 w 9650"/>
                  <a:gd name="connsiteY31" fmla="*/ 6828 h 9996"/>
                  <a:gd name="connsiteX32" fmla="*/ 231 w 9650"/>
                  <a:gd name="connsiteY32" fmla="*/ 7578 h 9996"/>
                  <a:gd name="connsiteX33" fmla="*/ 788 w 9650"/>
                  <a:gd name="connsiteY33" fmla="*/ 7598 h 9996"/>
                  <a:gd name="connsiteX34" fmla="*/ 1544 w 9650"/>
                  <a:gd name="connsiteY34" fmla="*/ 7091 h 9996"/>
                  <a:gd name="connsiteX35" fmla="*/ 1537 w 9650"/>
                  <a:gd name="connsiteY35" fmla="*/ 7578 h 9996"/>
                  <a:gd name="connsiteX36" fmla="*/ 2233 w 9650"/>
                  <a:gd name="connsiteY36" fmla="*/ 7143 h 9996"/>
                  <a:gd name="connsiteX37" fmla="*/ 2233 w 9650"/>
                  <a:gd name="connsiteY37" fmla="*/ 7578 h 9996"/>
                  <a:gd name="connsiteX38" fmla="*/ 2921 w 9650"/>
                  <a:gd name="connsiteY38" fmla="*/ 7136 h 9996"/>
                  <a:gd name="connsiteX39" fmla="*/ 2927 w 9650"/>
                  <a:gd name="connsiteY39" fmla="*/ 7572 h 9996"/>
                  <a:gd name="connsiteX40" fmla="*/ 3589 w 9650"/>
                  <a:gd name="connsiteY40" fmla="*/ 7104 h 9996"/>
                  <a:gd name="connsiteX41" fmla="*/ 3589 w 9650"/>
                  <a:gd name="connsiteY41" fmla="*/ 8349 h 9996"/>
                  <a:gd name="connsiteX42" fmla="*/ 3666 w 9650"/>
                  <a:gd name="connsiteY42" fmla="*/ 8259 h 9996"/>
                  <a:gd name="connsiteX43" fmla="*/ 3740 w 9650"/>
                  <a:gd name="connsiteY43" fmla="*/ 8176 h 9996"/>
                  <a:gd name="connsiteX44" fmla="*/ 3833 w 9650"/>
                  <a:gd name="connsiteY44" fmla="*/ 8105 h 9996"/>
                  <a:gd name="connsiteX45" fmla="*/ 3934 w 9650"/>
                  <a:gd name="connsiteY45" fmla="*/ 8041 h 9996"/>
                  <a:gd name="connsiteX46" fmla="*/ 4036 w 9650"/>
                  <a:gd name="connsiteY46" fmla="*/ 7997 h 9996"/>
                  <a:gd name="connsiteX47" fmla="*/ 4146 w 9650"/>
                  <a:gd name="connsiteY47" fmla="*/ 7964 h 9996"/>
                  <a:gd name="connsiteX48" fmla="*/ 4261 w 9650"/>
                  <a:gd name="connsiteY48" fmla="*/ 7939 h 9996"/>
                  <a:gd name="connsiteX49" fmla="*/ 4393 w 9650"/>
                  <a:gd name="connsiteY49" fmla="*/ 7932 h 9996"/>
                  <a:gd name="connsiteX50" fmla="*/ 4573 w 9650"/>
                  <a:gd name="connsiteY50" fmla="*/ 7945 h 9996"/>
                  <a:gd name="connsiteX51" fmla="*/ 4753 w 9650"/>
                  <a:gd name="connsiteY51" fmla="*/ 7990 h 9996"/>
                  <a:gd name="connsiteX52" fmla="*/ 4896 w 9650"/>
                  <a:gd name="connsiteY52" fmla="*/ 8067 h 9996"/>
                  <a:gd name="connsiteX53" fmla="*/ 5043 w 9650"/>
                  <a:gd name="connsiteY53" fmla="*/ 8163 h 9996"/>
                  <a:gd name="connsiteX54" fmla="*/ 5167 w 9650"/>
                  <a:gd name="connsiteY54" fmla="*/ 8279 h 9996"/>
                  <a:gd name="connsiteX55" fmla="*/ 5248 w 9650"/>
                  <a:gd name="connsiteY55" fmla="*/ 8420 h 9996"/>
                  <a:gd name="connsiteX56" fmla="*/ 5324 w 9650"/>
                  <a:gd name="connsiteY56" fmla="*/ 8567 h 9996"/>
                  <a:gd name="connsiteX57" fmla="*/ 5350 w 9650"/>
                  <a:gd name="connsiteY57" fmla="*/ 8729 h 9996"/>
                  <a:gd name="connsiteX58" fmla="*/ 5385 w 9650"/>
                  <a:gd name="connsiteY58" fmla="*/ 8722 h 9996"/>
                  <a:gd name="connsiteX59" fmla="*/ 5412 w 9650"/>
                  <a:gd name="connsiteY59" fmla="*/ 8722 h 9996"/>
                  <a:gd name="connsiteX60" fmla="*/ 5440 w 9650"/>
                  <a:gd name="connsiteY60" fmla="*/ 8716 h 9996"/>
                  <a:gd name="connsiteX61" fmla="*/ 5467 w 9650"/>
                  <a:gd name="connsiteY61" fmla="*/ 8716 h 9996"/>
                  <a:gd name="connsiteX62" fmla="*/ 5502 w 9650"/>
                  <a:gd name="connsiteY62" fmla="*/ 8710 h 9996"/>
                  <a:gd name="connsiteX63" fmla="*/ 5534 w 9650"/>
                  <a:gd name="connsiteY63" fmla="*/ 8710 h 9996"/>
                  <a:gd name="connsiteX64" fmla="*/ 5563 w 9650"/>
                  <a:gd name="connsiteY64" fmla="*/ 8710 h 9996"/>
                  <a:gd name="connsiteX65" fmla="*/ 5599 w 9650"/>
                  <a:gd name="connsiteY65" fmla="*/ 8710 h 9996"/>
                  <a:gd name="connsiteX66" fmla="*/ 5742 w 9650"/>
                  <a:gd name="connsiteY66" fmla="*/ 8716 h 9996"/>
                  <a:gd name="connsiteX67" fmla="*/ 5873 w 9650"/>
                  <a:gd name="connsiteY67" fmla="*/ 8748 h 9996"/>
                  <a:gd name="connsiteX68" fmla="*/ 6004 w 9650"/>
                  <a:gd name="connsiteY68" fmla="*/ 8793 h 9996"/>
                  <a:gd name="connsiteX69" fmla="*/ 6122 w 9650"/>
                  <a:gd name="connsiteY69" fmla="*/ 8858 h 9996"/>
                  <a:gd name="connsiteX70" fmla="*/ 6231 w 9650"/>
                  <a:gd name="connsiteY70" fmla="*/ 8934 h 9996"/>
                  <a:gd name="connsiteX71" fmla="*/ 6328 w 9650"/>
                  <a:gd name="connsiteY71" fmla="*/ 9017 h 9996"/>
                  <a:gd name="connsiteX72" fmla="*/ 6405 w 9650"/>
                  <a:gd name="connsiteY72" fmla="*/ 9127 h 9996"/>
                  <a:gd name="connsiteX73" fmla="*/ 6474 w 9650"/>
                  <a:gd name="connsiteY73" fmla="*/ 9235 h 9996"/>
                  <a:gd name="connsiteX74" fmla="*/ 2544 w 9650"/>
                  <a:gd name="connsiteY74" fmla="*/ 9235 h 9996"/>
                  <a:gd name="connsiteX75" fmla="*/ 2584 w 9650"/>
                  <a:gd name="connsiteY75" fmla="*/ 9152 h 9996"/>
                  <a:gd name="connsiteX76" fmla="*/ 2639 w 9650"/>
                  <a:gd name="connsiteY76" fmla="*/ 9069 h 9996"/>
                  <a:gd name="connsiteX77" fmla="*/ 2695 w 9650"/>
                  <a:gd name="connsiteY77" fmla="*/ 9005 h 9996"/>
                  <a:gd name="connsiteX78" fmla="*/ 2768 w 9650"/>
                  <a:gd name="connsiteY78" fmla="*/ 8941 h 9996"/>
                  <a:gd name="connsiteX79" fmla="*/ 2838 w 9650"/>
                  <a:gd name="connsiteY79" fmla="*/ 8890 h 9996"/>
                  <a:gd name="connsiteX80" fmla="*/ 2921 w 9650"/>
                  <a:gd name="connsiteY80" fmla="*/ 8838 h 9996"/>
                  <a:gd name="connsiteX81" fmla="*/ 3004 w 9650"/>
                  <a:gd name="connsiteY81" fmla="*/ 8800 h 9996"/>
                  <a:gd name="connsiteX82" fmla="*/ 3101 w 9650"/>
                  <a:gd name="connsiteY82" fmla="*/ 8768 h 9996"/>
                  <a:gd name="connsiteX83" fmla="*/ 3101 w 9650"/>
                  <a:gd name="connsiteY83" fmla="*/ 7945 h 9996"/>
                  <a:gd name="connsiteX84" fmla="*/ 934 w 9650"/>
                  <a:gd name="connsiteY84" fmla="*/ 8029 h 9996"/>
                  <a:gd name="connsiteX85" fmla="*/ 5 w 9650"/>
                  <a:gd name="connsiteY85" fmla="*/ 7679 h 9996"/>
                  <a:gd name="connsiteX86" fmla="*/ 2012 w 9650"/>
                  <a:gd name="connsiteY86" fmla="*/ 9452 h 9996"/>
                  <a:gd name="connsiteX87" fmla="*/ 5736 w 9650"/>
                  <a:gd name="connsiteY87" fmla="*/ 9979 h 9996"/>
                  <a:gd name="connsiteX88" fmla="*/ 8198 w 9650"/>
                  <a:gd name="connsiteY88" fmla="*/ 8949 h 9996"/>
                  <a:gd name="connsiteX0" fmla="*/ 8700 w 10205"/>
                  <a:gd name="connsiteY0" fmla="*/ 8953 h 10000"/>
                  <a:gd name="connsiteX1" fmla="*/ 10156 w 10205"/>
                  <a:gd name="connsiteY1" fmla="*/ 7158 h 10000"/>
                  <a:gd name="connsiteX2" fmla="*/ 9279 w 10205"/>
                  <a:gd name="connsiteY2" fmla="*/ 7158 h 10000"/>
                  <a:gd name="connsiteX3" fmla="*/ 9279 w 10205"/>
                  <a:gd name="connsiteY3" fmla="*/ 4003 h 10000"/>
                  <a:gd name="connsiteX4" fmla="*/ 7113 w 10205"/>
                  <a:gd name="connsiteY4" fmla="*/ 4003 h 10000"/>
                  <a:gd name="connsiteX5" fmla="*/ 7113 w 10205"/>
                  <a:gd name="connsiteY5" fmla="*/ 3700 h 10000"/>
                  <a:gd name="connsiteX6" fmla="*/ 8844 w 10205"/>
                  <a:gd name="connsiteY6" fmla="*/ 3700 h 10000"/>
                  <a:gd name="connsiteX7" fmla="*/ 8844 w 10205"/>
                  <a:gd name="connsiteY7" fmla="*/ 3392 h 10000"/>
                  <a:gd name="connsiteX8" fmla="*/ 7113 w 10205"/>
                  <a:gd name="connsiteY8" fmla="*/ 3392 h 10000"/>
                  <a:gd name="connsiteX9" fmla="*/ 7113 w 10205"/>
                  <a:gd name="connsiteY9" fmla="*/ 1324 h 10000"/>
                  <a:gd name="connsiteX10" fmla="*/ 4564 w 10205"/>
                  <a:gd name="connsiteY10" fmla="*/ 534 h 10000"/>
                  <a:gd name="connsiteX11" fmla="*/ 4564 w 10205"/>
                  <a:gd name="connsiteY11" fmla="*/ 5500 h 10000"/>
                  <a:gd name="connsiteX12" fmla="*/ 4160 w 10205"/>
                  <a:gd name="connsiteY12" fmla="*/ 5506 h 10000"/>
                  <a:gd name="connsiteX13" fmla="*/ 4160 w 10205"/>
                  <a:gd name="connsiteY13" fmla="*/ 1703 h 10000"/>
                  <a:gd name="connsiteX14" fmla="*/ 3303 w 10205"/>
                  <a:gd name="connsiteY14" fmla="*/ 1999 h 10000"/>
                  <a:gd name="connsiteX15" fmla="*/ 2841 w 10205"/>
                  <a:gd name="connsiteY15" fmla="*/ 1999 h 10000"/>
                  <a:gd name="connsiteX16" fmla="*/ 2841 w 10205"/>
                  <a:gd name="connsiteY16" fmla="*/ 0 h 10000"/>
                  <a:gd name="connsiteX17" fmla="*/ 2670 w 10205"/>
                  <a:gd name="connsiteY17" fmla="*/ 0 h 10000"/>
                  <a:gd name="connsiteX18" fmla="*/ 2670 w 10205"/>
                  <a:gd name="connsiteY18" fmla="*/ 1999 h 10000"/>
                  <a:gd name="connsiteX19" fmla="*/ 2278 w 10205"/>
                  <a:gd name="connsiteY19" fmla="*/ 1999 h 10000"/>
                  <a:gd name="connsiteX20" fmla="*/ 2278 w 10205"/>
                  <a:gd name="connsiteY20" fmla="*/ 2417 h 10000"/>
                  <a:gd name="connsiteX21" fmla="*/ 1571 w 10205"/>
                  <a:gd name="connsiteY21" fmla="*/ 2730 h 10000"/>
                  <a:gd name="connsiteX22" fmla="*/ 1571 w 10205"/>
                  <a:gd name="connsiteY22" fmla="*/ 4280 h 10000"/>
                  <a:gd name="connsiteX23" fmla="*/ 1193 w 10205"/>
                  <a:gd name="connsiteY23" fmla="*/ 4280 h 10000"/>
                  <a:gd name="connsiteX24" fmla="*/ 1193 w 10205"/>
                  <a:gd name="connsiteY24" fmla="*/ 4691 h 10000"/>
                  <a:gd name="connsiteX25" fmla="*/ 1571 w 10205"/>
                  <a:gd name="connsiteY25" fmla="*/ 4691 h 10000"/>
                  <a:gd name="connsiteX26" fmla="*/ 1571 w 10205"/>
                  <a:gd name="connsiteY26" fmla="*/ 5205 h 10000"/>
                  <a:gd name="connsiteX27" fmla="*/ 1193 w 10205"/>
                  <a:gd name="connsiteY27" fmla="*/ 5205 h 10000"/>
                  <a:gd name="connsiteX28" fmla="*/ 1193 w 10205"/>
                  <a:gd name="connsiteY28" fmla="*/ 5616 h 10000"/>
                  <a:gd name="connsiteX29" fmla="*/ 1571 w 10205"/>
                  <a:gd name="connsiteY29" fmla="*/ 5616 h 10000"/>
                  <a:gd name="connsiteX30" fmla="*/ 1571 w 10205"/>
                  <a:gd name="connsiteY30" fmla="*/ 6831 h 10000"/>
                  <a:gd name="connsiteX31" fmla="*/ 444 w 10205"/>
                  <a:gd name="connsiteY31" fmla="*/ 6831 h 10000"/>
                  <a:gd name="connsiteX32" fmla="*/ 444 w 10205"/>
                  <a:gd name="connsiteY32" fmla="*/ 7581 h 10000"/>
                  <a:gd name="connsiteX33" fmla="*/ 1022 w 10205"/>
                  <a:gd name="connsiteY33" fmla="*/ 7601 h 10000"/>
                  <a:gd name="connsiteX34" fmla="*/ 1805 w 10205"/>
                  <a:gd name="connsiteY34" fmla="*/ 7094 h 10000"/>
                  <a:gd name="connsiteX35" fmla="*/ 1798 w 10205"/>
                  <a:gd name="connsiteY35" fmla="*/ 7581 h 10000"/>
                  <a:gd name="connsiteX36" fmla="*/ 2519 w 10205"/>
                  <a:gd name="connsiteY36" fmla="*/ 7146 h 10000"/>
                  <a:gd name="connsiteX37" fmla="*/ 2519 w 10205"/>
                  <a:gd name="connsiteY37" fmla="*/ 7581 h 10000"/>
                  <a:gd name="connsiteX38" fmla="*/ 3232 w 10205"/>
                  <a:gd name="connsiteY38" fmla="*/ 7139 h 10000"/>
                  <a:gd name="connsiteX39" fmla="*/ 3238 w 10205"/>
                  <a:gd name="connsiteY39" fmla="*/ 7575 h 10000"/>
                  <a:gd name="connsiteX40" fmla="*/ 3924 w 10205"/>
                  <a:gd name="connsiteY40" fmla="*/ 7107 h 10000"/>
                  <a:gd name="connsiteX41" fmla="*/ 3924 w 10205"/>
                  <a:gd name="connsiteY41" fmla="*/ 8352 h 10000"/>
                  <a:gd name="connsiteX42" fmla="*/ 4004 w 10205"/>
                  <a:gd name="connsiteY42" fmla="*/ 8262 h 10000"/>
                  <a:gd name="connsiteX43" fmla="*/ 4081 w 10205"/>
                  <a:gd name="connsiteY43" fmla="*/ 8179 h 10000"/>
                  <a:gd name="connsiteX44" fmla="*/ 4177 w 10205"/>
                  <a:gd name="connsiteY44" fmla="*/ 8108 h 10000"/>
                  <a:gd name="connsiteX45" fmla="*/ 4282 w 10205"/>
                  <a:gd name="connsiteY45" fmla="*/ 8044 h 10000"/>
                  <a:gd name="connsiteX46" fmla="*/ 4387 w 10205"/>
                  <a:gd name="connsiteY46" fmla="*/ 8000 h 10000"/>
                  <a:gd name="connsiteX47" fmla="*/ 4501 w 10205"/>
                  <a:gd name="connsiteY47" fmla="*/ 7967 h 10000"/>
                  <a:gd name="connsiteX48" fmla="*/ 4621 w 10205"/>
                  <a:gd name="connsiteY48" fmla="*/ 7942 h 10000"/>
                  <a:gd name="connsiteX49" fmla="*/ 4757 w 10205"/>
                  <a:gd name="connsiteY49" fmla="*/ 7935 h 10000"/>
                  <a:gd name="connsiteX50" fmla="*/ 4944 w 10205"/>
                  <a:gd name="connsiteY50" fmla="*/ 7948 h 10000"/>
                  <a:gd name="connsiteX51" fmla="*/ 5130 w 10205"/>
                  <a:gd name="connsiteY51" fmla="*/ 7993 h 10000"/>
                  <a:gd name="connsiteX52" fmla="*/ 5279 w 10205"/>
                  <a:gd name="connsiteY52" fmla="*/ 8070 h 10000"/>
                  <a:gd name="connsiteX53" fmla="*/ 5431 w 10205"/>
                  <a:gd name="connsiteY53" fmla="*/ 8166 h 10000"/>
                  <a:gd name="connsiteX54" fmla="*/ 5559 w 10205"/>
                  <a:gd name="connsiteY54" fmla="*/ 8282 h 10000"/>
                  <a:gd name="connsiteX55" fmla="*/ 5643 w 10205"/>
                  <a:gd name="connsiteY55" fmla="*/ 8423 h 10000"/>
                  <a:gd name="connsiteX56" fmla="*/ 5722 w 10205"/>
                  <a:gd name="connsiteY56" fmla="*/ 8570 h 10000"/>
                  <a:gd name="connsiteX57" fmla="*/ 5749 w 10205"/>
                  <a:gd name="connsiteY57" fmla="*/ 8732 h 10000"/>
                  <a:gd name="connsiteX58" fmla="*/ 5785 w 10205"/>
                  <a:gd name="connsiteY58" fmla="*/ 8725 h 10000"/>
                  <a:gd name="connsiteX59" fmla="*/ 5813 w 10205"/>
                  <a:gd name="connsiteY59" fmla="*/ 8725 h 10000"/>
                  <a:gd name="connsiteX60" fmla="*/ 5842 w 10205"/>
                  <a:gd name="connsiteY60" fmla="*/ 8719 h 10000"/>
                  <a:gd name="connsiteX61" fmla="*/ 5870 w 10205"/>
                  <a:gd name="connsiteY61" fmla="*/ 8719 h 10000"/>
                  <a:gd name="connsiteX62" fmla="*/ 5907 w 10205"/>
                  <a:gd name="connsiteY62" fmla="*/ 8713 h 10000"/>
                  <a:gd name="connsiteX63" fmla="*/ 5940 w 10205"/>
                  <a:gd name="connsiteY63" fmla="*/ 8713 h 10000"/>
                  <a:gd name="connsiteX64" fmla="*/ 5970 w 10205"/>
                  <a:gd name="connsiteY64" fmla="*/ 8713 h 10000"/>
                  <a:gd name="connsiteX65" fmla="*/ 6007 w 10205"/>
                  <a:gd name="connsiteY65" fmla="*/ 8713 h 10000"/>
                  <a:gd name="connsiteX66" fmla="*/ 6155 w 10205"/>
                  <a:gd name="connsiteY66" fmla="*/ 8719 h 10000"/>
                  <a:gd name="connsiteX67" fmla="*/ 6291 w 10205"/>
                  <a:gd name="connsiteY67" fmla="*/ 8752 h 10000"/>
                  <a:gd name="connsiteX68" fmla="*/ 6427 w 10205"/>
                  <a:gd name="connsiteY68" fmla="*/ 8797 h 10000"/>
                  <a:gd name="connsiteX69" fmla="*/ 6549 w 10205"/>
                  <a:gd name="connsiteY69" fmla="*/ 8862 h 10000"/>
                  <a:gd name="connsiteX70" fmla="*/ 6662 w 10205"/>
                  <a:gd name="connsiteY70" fmla="*/ 8938 h 10000"/>
                  <a:gd name="connsiteX71" fmla="*/ 6763 w 10205"/>
                  <a:gd name="connsiteY71" fmla="*/ 9021 h 10000"/>
                  <a:gd name="connsiteX72" fmla="*/ 6842 w 10205"/>
                  <a:gd name="connsiteY72" fmla="*/ 9131 h 10000"/>
                  <a:gd name="connsiteX73" fmla="*/ 6914 w 10205"/>
                  <a:gd name="connsiteY73" fmla="*/ 9239 h 10000"/>
                  <a:gd name="connsiteX74" fmla="*/ 2841 w 10205"/>
                  <a:gd name="connsiteY74" fmla="*/ 9239 h 10000"/>
                  <a:gd name="connsiteX75" fmla="*/ 2883 w 10205"/>
                  <a:gd name="connsiteY75" fmla="*/ 9156 h 10000"/>
                  <a:gd name="connsiteX76" fmla="*/ 2940 w 10205"/>
                  <a:gd name="connsiteY76" fmla="*/ 9073 h 10000"/>
                  <a:gd name="connsiteX77" fmla="*/ 2998 w 10205"/>
                  <a:gd name="connsiteY77" fmla="*/ 9009 h 10000"/>
                  <a:gd name="connsiteX78" fmla="*/ 3073 w 10205"/>
                  <a:gd name="connsiteY78" fmla="*/ 8945 h 10000"/>
                  <a:gd name="connsiteX79" fmla="*/ 3146 w 10205"/>
                  <a:gd name="connsiteY79" fmla="*/ 8894 h 10000"/>
                  <a:gd name="connsiteX80" fmla="*/ 3232 w 10205"/>
                  <a:gd name="connsiteY80" fmla="*/ 8842 h 10000"/>
                  <a:gd name="connsiteX81" fmla="*/ 3318 w 10205"/>
                  <a:gd name="connsiteY81" fmla="*/ 8804 h 10000"/>
                  <a:gd name="connsiteX82" fmla="*/ 3418 w 10205"/>
                  <a:gd name="connsiteY82" fmla="*/ 8772 h 10000"/>
                  <a:gd name="connsiteX83" fmla="*/ 3418 w 10205"/>
                  <a:gd name="connsiteY83" fmla="*/ 7948 h 10000"/>
                  <a:gd name="connsiteX84" fmla="*/ 1173 w 10205"/>
                  <a:gd name="connsiteY84" fmla="*/ 8032 h 10000"/>
                  <a:gd name="connsiteX85" fmla="*/ 3 w 10205"/>
                  <a:gd name="connsiteY85" fmla="*/ 7682 h 10000"/>
                  <a:gd name="connsiteX86" fmla="*/ 2290 w 10205"/>
                  <a:gd name="connsiteY86" fmla="*/ 9456 h 10000"/>
                  <a:gd name="connsiteX87" fmla="*/ 6149 w 10205"/>
                  <a:gd name="connsiteY87" fmla="*/ 9983 h 10000"/>
                  <a:gd name="connsiteX88" fmla="*/ 8700 w 10205"/>
                  <a:gd name="connsiteY88" fmla="*/ 8953 h 10000"/>
                  <a:gd name="connsiteX0" fmla="*/ 8700 w 10205"/>
                  <a:gd name="connsiteY0" fmla="*/ 8953 h 10016"/>
                  <a:gd name="connsiteX1" fmla="*/ 10156 w 10205"/>
                  <a:gd name="connsiteY1" fmla="*/ 7158 h 10016"/>
                  <a:gd name="connsiteX2" fmla="*/ 9279 w 10205"/>
                  <a:gd name="connsiteY2" fmla="*/ 7158 h 10016"/>
                  <a:gd name="connsiteX3" fmla="*/ 9279 w 10205"/>
                  <a:gd name="connsiteY3" fmla="*/ 4003 h 10016"/>
                  <a:gd name="connsiteX4" fmla="*/ 7113 w 10205"/>
                  <a:gd name="connsiteY4" fmla="*/ 4003 h 10016"/>
                  <a:gd name="connsiteX5" fmla="*/ 7113 w 10205"/>
                  <a:gd name="connsiteY5" fmla="*/ 3700 h 10016"/>
                  <a:gd name="connsiteX6" fmla="*/ 8844 w 10205"/>
                  <a:gd name="connsiteY6" fmla="*/ 3700 h 10016"/>
                  <a:gd name="connsiteX7" fmla="*/ 8844 w 10205"/>
                  <a:gd name="connsiteY7" fmla="*/ 3392 h 10016"/>
                  <a:gd name="connsiteX8" fmla="*/ 7113 w 10205"/>
                  <a:gd name="connsiteY8" fmla="*/ 3392 h 10016"/>
                  <a:gd name="connsiteX9" fmla="*/ 7113 w 10205"/>
                  <a:gd name="connsiteY9" fmla="*/ 1324 h 10016"/>
                  <a:gd name="connsiteX10" fmla="*/ 4564 w 10205"/>
                  <a:gd name="connsiteY10" fmla="*/ 534 h 10016"/>
                  <a:gd name="connsiteX11" fmla="*/ 4564 w 10205"/>
                  <a:gd name="connsiteY11" fmla="*/ 5500 h 10016"/>
                  <a:gd name="connsiteX12" fmla="*/ 4160 w 10205"/>
                  <a:gd name="connsiteY12" fmla="*/ 5506 h 10016"/>
                  <a:gd name="connsiteX13" fmla="*/ 4160 w 10205"/>
                  <a:gd name="connsiteY13" fmla="*/ 1703 h 10016"/>
                  <a:gd name="connsiteX14" fmla="*/ 3303 w 10205"/>
                  <a:gd name="connsiteY14" fmla="*/ 1999 h 10016"/>
                  <a:gd name="connsiteX15" fmla="*/ 2841 w 10205"/>
                  <a:gd name="connsiteY15" fmla="*/ 1999 h 10016"/>
                  <a:gd name="connsiteX16" fmla="*/ 2841 w 10205"/>
                  <a:gd name="connsiteY16" fmla="*/ 0 h 10016"/>
                  <a:gd name="connsiteX17" fmla="*/ 2670 w 10205"/>
                  <a:gd name="connsiteY17" fmla="*/ 0 h 10016"/>
                  <a:gd name="connsiteX18" fmla="*/ 2670 w 10205"/>
                  <a:gd name="connsiteY18" fmla="*/ 1999 h 10016"/>
                  <a:gd name="connsiteX19" fmla="*/ 2278 w 10205"/>
                  <a:gd name="connsiteY19" fmla="*/ 1999 h 10016"/>
                  <a:gd name="connsiteX20" fmla="*/ 2278 w 10205"/>
                  <a:gd name="connsiteY20" fmla="*/ 2417 h 10016"/>
                  <a:gd name="connsiteX21" fmla="*/ 1571 w 10205"/>
                  <a:gd name="connsiteY21" fmla="*/ 2730 h 10016"/>
                  <a:gd name="connsiteX22" fmla="*/ 1571 w 10205"/>
                  <a:gd name="connsiteY22" fmla="*/ 4280 h 10016"/>
                  <a:gd name="connsiteX23" fmla="*/ 1193 w 10205"/>
                  <a:gd name="connsiteY23" fmla="*/ 4280 h 10016"/>
                  <a:gd name="connsiteX24" fmla="*/ 1193 w 10205"/>
                  <a:gd name="connsiteY24" fmla="*/ 4691 h 10016"/>
                  <a:gd name="connsiteX25" fmla="*/ 1571 w 10205"/>
                  <a:gd name="connsiteY25" fmla="*/ 4691 h 10016"/>
                  <a:gd name="connsiteX26" fmla="*/ 1571 w 10205"/>
                  <a:gd name="connsiteY26" fmla="*/ 5205 h 10016"/>
                  <a:gd name="connsiteX27" fmla="*/ 1193 w 10205"/>
                  <a:gd name="connsiteY27" fmla="*/ 5205 h 10016"/>
                  <a:gd name="connsiteX28" fmla="*/ 1193 w 10205"/>
                  <a:gd name="connsiteY28" fmla="*/ 5616 h 10016"/>
                  <a:gd name="connsiteX29" fmla="*/ 1571 w 10205"/>
                  <a:gd name="connsiteY29" fmla="*/ 5616 h 10016"/>
                  <a:gd name="connsiteX30" fmla="*/ 1571 w 10205"/>
                  <a:gd name="connsiteY30" fmla="*/ 6831 h 10016"/>
                  <a:gd name="connsiteX31" fmla="*/ 444 w 10205"/>
                  <a:gd name="connsiteY31" fmla="*/ 6831 h 10016"/>
                  <a:gd name="connsiteX32" fmla="*/ 444 w 10205"/>
                  <a:gd name="connsiteY32" fmla="*/ 7581 h 10016"/>
                  <a:gd name="connsiteX33" fmla="*/ 1022 w 10205"/>
                  <a:gd name="connsiteY33" fmla="*/ 7601 h 10016"/>
                  <a:gd name="connsiteX34" fmla="*/ 1805 w 10205"/>
                  <a:gd name="connsiteY34" fmla="*/ 7094 h 10016"/>
                  <a:gd name="connsiteX35" fmla="*/ 1798 w 10205"/>
                  <a:gd name="connsiteY35" fmla="*/ 7581 h 10016"/>
                  <a:gd name="connsiteX36" fmla="*/ 2519 w 10205"/>
                  <a:gd name="connsiteY36" fmla="*/ 7146 h 10016"/>
                  <a:gd name="connsiteX37" fmla="*/ 2519 w 10205"/>
                  <a:gd name="connsiteY37" fmla="*/ 7581 h 10016"/>
                  <a:gd name="connsiteX38" fmla="*/ 3232 w 10205"/>
                  <a:gd name="connsiteY38" fmla="*/ 7139 h 10016"/>
                  <a:gd name="connsiteX39" fmla="*/ 3238 w 10205"/>
                  <a:gd name="connsiteY39" fmla="*/ 7575 h 10016"/>
                  <a:gd name="connsiteX40" fmla="*/ 3924 w 10205"/>
                  <a:gd name="connsiteY40" fmla="*/ 7107 h 10016"/>
                  <a:gd name="connsiteX41" fmla="*/ 3924 w 10205"/>
                  <a:gd name="connsiteY41" fmla="*/ 8352 h 10016"/>
                  <a:gd name="connsiteX42" fmla="*/ 4004 w 10205"/>
                  <a:gd name="connsiteY42" fmla="*/ 8262 h 10016"/>
                  <a:gd name="connsiteX43" fmla="*/ 4081 w 10205"/>
                  <a:gd name="connsiteY43" fmla="*/ 8179 h 10016"/>
                  <a:gd name="connsiteX44" fmla="*/ 4177 w 10205"/>
                  <a:gd name="connsiteY44" fmla="*/ 8108 h 10016"/>
                  <a:gd name="connsiteX45" fmla="*/ 4282 w 10205"/>
                  <a:gd name="connsiteY45" fmla="*/ 8044 h 10016"/>
                  <a:gd name="connsiteX46" fmla="*/ 4387 w 10205"/>
                  <a:gd name="connsiteY46" fmla="*/ 8000 h 10016"/>
                  <a:gd name="connsiteX47" fmla="*/ 4501 w 10205"/>
                  <a:gd name="connsiteY47" fmla="*/ 7967 h 10016"/>
                  <a:gd name="connsiteX48" fmla="*/ 4621 w 10205"/>
                  <a:gd name="connsiteY48" fmla="*/ 7942 h 10016"/>
                  <a:gd name="connsiteX49" fmla="*/ 4757 w 10205"/>
                  <a:gd name="connsiteY49" fmla="*/ 7935 h 10016"/>
                  <a:gd name="connsiteX50" fmla="*/ 4944 w 10205"/>
                  <a:gd name="connsiteY50" fmla="*/ 7948 h 10016"/>
                  <a:gd name="connsiteX51" fmla="*/ 5130 w 10205"/>
                  <a:gd name="connsiteY51" fmla="*/ 7993 h 10016"/>
                  <a:gd name="connsiteX52" fmla="*/ 5279 w 10205"/>
                  <a:gd name="connsiteY52" fmla="*/ 8070 h 10016"/>
                  <a:gd name="connsiteX53" fmla="*/ 5431 w 10205"/>
                  <a:gd name="connsiteY53" fmla="*/ 8166 h 10016"/>
                  <a:gd name="connsiteX54" fmla="*/ 5559 w 10205"/>
                  <a:gd name="connsiteY54" fmla="*/ 8282 h 10016"/>
                  <a:gd name="connsiteX55" fmla="*/ 5643 w 10205"/>
                  <a:gd name="connsiteY55" fmla="*/ 8423 h 10016"/>
                  <a:gd name="connsiteX56" fmla="*/ 5722 w 10205"/>
                  <a:gd name="connsiteY56" fmla="*/ 8570 h 10016"/>
                  <a:gd name="connsiteX57" fmla="*/ 5749 w 10205"/>
                  <a:gd name="connsiteY57" fmla="*/ 8732 h 10016"/>
                  <a:gd name="connsiteX58" fmla="*/ 5785 w 10205"/>
                  <a:gd name="connsiteY58" fmla="*/ 8725 h 10016"/>
                  <a:gd name="connsiteX59" fmla="*/ 5813 w 10205"/>
                  <a:gd name="connsiteY59" fmla="*/ 8725 h 10016"/>
                  <a:gd name="connsiteX60" fmla="*/ 5842 w 10205"/>
                  <a:gd name="connsiteY60" fmla="*/ 8719 h 10016"/>
                  <a:gd name="connsiteX61" fmla="*/ 5870 w 10205"/>
                  <a:gd name="connsiteY61" fmla="*/ 8719 h 10016"/>
                  <a:gd name="connsiteX62" fmla="*/ 5907 w 10205"/>
                  <a:gd name="connsiteY62" fmla="*/ 8713 h 10016"/>
                  <a:gd name="connsiteX63" fmla="*/ 5940 w 10205"/>
                  <a:gd name="connsiteY63" fmla="*/ 8713 h 10016"/>
                  <a:gd name="connsiteX64" fmla="*/ 5970 w 10205"/>
                  <a:gd name="connsiteY64" fmla="*/ 8713 h 10016"/>
                  <a:gd name="connsiteX65" fmla="*/ 6007 w 10205"/>
                  <a:gd name="connsiteY65" fmla="*/ 8713 h 10016"/>
                  <a:gd name="connsiteX66" fmla="*/ 6155 w 10205"/>
                  <a:gd name="connsiteY66" fmla="*/ 8719 h 10016"/>
                  <a:gd name="connsiteX67" fmla="*/ 6291 w 10205"/>
                  <a:gd name="connsiteY67" fmla="*/ 8752 h 10016"/>
                  <a:gd name="connsiteX68" fmla="*/ 6427 w 10205"/>
                  <a:gd name="connsiteY68" fmla="*/ 8797 h 10016"/>
                  <a:gd name="connsiteX69" fmla="*/ 6549 w 10205"/>
                  <a:gd name="connsiteY69" fmla="*/ 8862 h 10016"/>
                  <a:gd name="connsiteX70" fmla="*/ 6662 w 10205"/>
                  <a:gd name="connsiteY70" fmla="*/ 8938 h 10016"/>
                  <a:gd name="connsiteX71" fmla="*/ 6763 w 10205"/>
                  <a:gd name="connsiteY71" fmla="*/ 9021 h 10016"/>
                  <a:gd name="connsiteX72" fmla="*/ 6842 w 10205"/>
                  <a:gd name="connsiteY72" fmla="*/ 9131 h 10016"/>
                  <a:gd name="connsiteX73" fmla="*/ 6914 w 10205"/>
                  <a:gd name="connsiteY73" fmla="*/ 9239 h 10016"/>
                  <a:gd name="connsiteX74" fmla="*/ 2841 w 10205"/>
                  <a:gd name="connsiteY74" fmla="*/ 9239 h 10016"/>
                  <a:gd name="connsiteX75" fmla="*/ 2883 w 10205"/>
                  <a:gd name="connsiteY75" fmla="*/ 9156 h 10016"/>
                  <a:gd name="connsiteX76" fmla="*/ 2940 w 10205"/>
                  <a:gd name="connsiteY76" fmla="*/ 9073 h 10016"/>
                  <a:gd name="connsiteX77" fmla="*/ 2998 w 10205"/>
                  <a:gd name="connsiteY77" fmla="*/ 9009 h 10016"/>
                  <a:gd name="connsiteX78" fmla="*/ 3073 w 10205"/>
                  <a:gd name="connsiteY78" fmla="*/ 8945 h 10016"/>
                  <a:gd name="connsiteX79" fmla="*/ 3146 w 10205"/>
                  <a:gd name="connsiteY79" fmla="*/ 8894 h 10016"/>
                  <a:gd name="connsiteX80" fmla="*/ 3232 w 10205"/>
                  <a:gd name="connsiteY80" fmla="*/ 8842 h 10016"/>
                  <a:gd name="connsiteX81" fmla="*/ 3318 w 10205"/>
                  <a:gd name="connsiteY81" fmla="*/ 8804 h 10016"/>
                  <a:gd name="connsiteX82" fmla="*/ 3418 w 10205"/>
                  <a:gd name="connsiteY82" fmla="*/ 8772 h 10016"/>
                  <a:gd name="connsiteX83" fmla="*/ 3418 w 10205"/>
                  <a:gd name="connsiteY83" fmla="*/ 7948 h 10016"/>
                  <a:gd name="connsiteX84" fmla="*/ 1173 w 10205"/>
                  <a:gd name="connsiteY84" fmla="*/ 8032 h 10016"/>
                  <a:gd name="connsiteX85" fmla="*/ 3 w 10205"/>
                  <a:gd name="connsiteY85" fmla="*/ 7682 h 10016"/>
                  <a:gd name="connsiteX86" fmla="*/ 2290 w 10205"/>
                  <a:gd name="connsiteY86" fmla="*/ 9456 h 10016"/>
                  <a:gd name="connsiteX87" fmla="*/ 6149 w 10205"/>
                  <a:gd name="connsiteY87" fmla="*/ 9983 h 10016"/>
                  <a:gd name="connsiteX88" fmla="*/ 8700 w 10205"/>
                  <a:gd name="connsiteY88" fmla="*/ 8953 h 10016"/>
                  <a:gd name="connsiteX0" fmla="*/ 8700 w 10205"/>
                  <a:gd name="connsiteY0" fmla="*/ 8953 h 10036"/>
                  <a:gd name="connsiteX1" fmla="*/ 10156 w 10205"/>
                  <a:gd name="connsiteY1" fmla="*/ 7158 h 10036"/>
                  <a:gd name="connsiteX2" fmla="*/ 9279 w 10205"/>
                  <a:gd name="connsiteY2" fmla="*/ 7158 h 10036"/>
                  <a:gd name="connsiteX3" fmla="*/ 9279 w 10205"/>
                  <a:gd name="connsiteY3" fmla="*/ 4003 h 10036"/>
                  <a:gd name="connsiteX4" fmla="*/ 7113 w 10205"/>
                  <a:gd name="connsiteY4" fmla="*/ 4003 h 10036"/>
                  <a:gd name="connsiteX5" fmla="*/ 7113 w 10205"/>
                  <a:gd name="connsiteY5" fmla="*/ 3700 h 10036"/>
                  <a:gd name="connsiteX6" fmla="*/ 8844 w 10205"/>
                  <a:gd name="connsiteY6" fmla="*/ 3700 h 10036"/>
                  <a:gd name="connsiteX7" fmla="*/ 8844 w 10205"/>
                  <a:gd name="connsiteY7" fmla="*/ 3392 h 10036"/>
                  <a:gd name="connsiteX8" fmla="*/ 7113 w 10205"/>
                  <a:gd name="connsiteY8" fmla="*/ 3392 h 10036"/>
                  <a:gd name="connsiteX9" fmla="*/ 7113 w 10205"/>
                  <a:gd name="connsiteY9" fmla="*/ 1324 h 10036"/>
                  <a:gd name="connsiteX10" fmla="*/ 4564 w 10205"/>
                  <a:gd name="connsiteY10" fmla="*/ 534 h 10036"/>
                  <a:gd name="connsiteX11" fmla="*/ 4564 w 10205"/>
                  <a:gd name="connsiteY11" fmla="*/ 5500 h 10036"/>
                  <a:gd name="connsiteX12" fmla="*/ 4160 w 10205"/>
                  <a:gd name="connsiteY12" fmla="*/ 5506 h 10036"/>
                  <a:gd name="connsiteX13" fmla="*/ 4160 w 10205"/>
                  <a:gd name="connsiteY13" fmla="*/ 1703 h 10036"/>
                  <a:gd name="connsiteX14" fmla="*/ 3303 w 10205"/>
                  <a:gd name="connsiteY14" fmla="*/ 1999 h 10036"/>
                  <a:gd name="connsiteX15" fmla="*/ 2841 w 10205"/>
                  <a:gd name="connsiteY15" fmla="*/ 1999 h 10036"/>
                  <a:gd name="connsiteX16" fmla="*/ 2841 w 10205"/>
                  <a:gd name="connsiteY16" fmla="*/ 0 h 10036"/>
                  <a:gd name="connsiteX17" fmla="*/ 2670 w 10205"/>
                  <a:gd name="connsiteY17" fmla="*/ 0 h 10036"/>
                  <a:gd name="connsiteX18" fmla="*/ 2670 w 10205"/>
                  <a:gd name="connsiteY18" fmla="*/ 1999 h 10036"/>
                  <a:gd name="connsiteX19" fmla="*/ 2278 w 10205"/>
                  <a:gd name="connsiteY19" fmla="*/ 1999 h 10036"/>
                  <a:gd name="connsiteX20" fmla="*/ 2278 w 10205"/>
                  <a:gd name="connsiteY20" fmla="*/ 2417 h 10036"/>
                  <a:gd name="connsiteX21" fmla="*/ 1571 w 10205"/>
                  <a:gd name="connsiteY21" fmla="*/ 2730 h 10036"/>
                  <a:gd name="connsiteX22" fmla="*/ 1571 w 10205"/>
                  <a:gd name="connsiteY22" fmla="*/ 4280 h 10036"/>
                  <a:gd name="connsiteX23" fmla="*/ 1193 w 10205"/>
                  <a:gd name="connsiteY23" fmla="*/ 4280 h 10036"/>
                  <a:gd name="connsiteX24" fmla="*/ 1193 w 10205"/>
                  <a:gd name="connsiteY24" fmla="*/ 4691 h 10036"/>
                  <a:gd name="connsiteX25" fmla="*/ 1571 w 10205"/>
                  <a:gd name="connsiteY25" fmla="*/ 4691 h 10036"/>
                  <a:gd name="connsiteX26" fmla="*/ 1571 w 10205"/>
                  <a:gd name="connsiteY26" fmla="*/ 5205 h 10036"/>
                  <a:gd name="connsiteX27" fmla="*/ 1193 w 10205"/>
                  <a:gd name="connsiteY27" fmla="*/ 5205 h 10036"/>
                  <a:gd name="connsiteX28" fmla="*/ 1193 w 10205"/>
                  <a:gd name="connsiteY28" fmla="*/ 5616 h 10036"/>
                  <a:gd name="connsiteX29" fmla="*/ 1571 w 10205"/>
                  <a:gd name="connsiteY29" fmla="*/ 5616 h 10036"/>
                  <a:gd name="connsiteX30" fmla="*/ 1571 w 10205"/>
                  <a:gd name="connsiteY30" fmla="*/ 6831 h 10036"/>
                  <a:gd name="connsiteX31" fmla="*/ 444 w 10205"/>
                  <a:gd name="connsiteY31" fmla="*/ 6831 h 10036"/>
                  <a:gd name="connsiteX32" fmla="*/ 444 w 10205"/>
                  <a:gd name="connsiteY32" fmla="*/ 7581 h 10036"/>
                  <a:gd name="connsiteX33" fmla="*/ 1022 w 10205"/>
                  <a:gd name="connsiteY33" fmla="*/ 7601 h 10036"/>
                  <a:gd name="connsiteX34" fmla="*/ 1805 w 10205"/>
                  <a:gd name="connsiteY34" fmla="*/ 7094 h 10036"/>
                  <a:gd name="connsiteX35" fmla="*/ 1798 w 10205"/>
                  <a:gd name="connsiteY35" fmla="*/ 7581 h 10036"/>
                  <a:gd name="connsiteX36" fmla="*/ 2519 w 10205"/>
                  <a:gd name="connsiteY36" fmla="*/ 7146 h 10036"/>
                  <a:gd name="connsiteX37" fmla="*/ 2519 w 10205"/>
                  <a:gd name="connsiteY37" fmla="*/ 7581 h 10036"/>
                  <a:gd name="connsiteX38" fmla="*/ 3232 w 10205"/>
                  <a:gd name="connsiteY38" fmla="*/ 7139 h 10036"/>
                  <a:gd name="connsiteX39" fmla="*/ 3238 w 10205"/>
                  <a:gd name="connsiteY39" fmla="*/ 7575 h 10036"/>
                  <a:gd name="connsiteX40" fmla="*/ 3924 w 10205"/>
                  <a:gd name="connsiteY40" fmla="*/ 7107 h 10036"/>
                  <a:gd name="connsiteX41" fmla="*/ 3924 w 10205"/>
                  <a:gd name="connsiteY41" fmla="*/ 8352 h 10036"/>
                  <a:gd name="connsiteX42" fmla="*/ 4004 w 10205"/>
                  <a:gd name="connsiteY42" fmla="*/ 8262 h 10036"/>
                  <a:gd name="connsiteX43" fmla="*/ 4081 w 10205"/>
                  <a:gd name="connsiteY43" fmla="*/ 8179 h 10036"/>
                  <a:gd name="connsiteX44" fmla="*/ 4177 w 10205"/>
                  <a:gd name="connsiteY44" fmla="*/ 8108 h 10036"/>
                  <a:gd name="connsiteX45" fmla="*/ 4282 w 10205"/>
                  <a:gd name="connsiteY45" fmla="*/ 8044 h 10036"/>
                  <a:gd name="connsiteX46" fmla="*/ 4387 w 10205"/>
                  <a:gd name="connsiteY46" fmla="*/ 8000 h 10036"/>
                  <a:gd name="connsiteX47" fmla="*/ 4501 w 10205"/>
                  <a:gd name="connsiteY47" fmla="*/ 7967 h 10036"/>
                  <a:gd name="connsiteX48" fmla="*/ 4621 w 10205"/>
                  <a:gd name="connsiteY48" fmla="*/ 7942 h 10036"/>
                  <a:gd name="connsiteX49" fmla="*/ 4757 w 10205"/>
                  <a:gd name="connsiteY49" fmla="*/ 7935 h 10036"/>
                  <a:gd name="connsiteX50" fmla="*/ 4944 w 10205"/>
                  <a:gd name="connsiteY50" fmla="*/ 7948 h 10036"/>
                  <a:gd name="connsiteX51" fmla="*/ 5130 w 10205"/>
                  <a:gd name="connsiteY51" fmla="*/ 7993 h 10036"/>
                  <a:gd name="connsiteX52" fmla="*/ 5279 w 10205"/>
                  <a:gd name="connsiteY52" fmla="*/ 8070 h 10036"/>
                  <a:gd name="connsiteX53" fmla="*/ 5431 w 10205"/>
                  <a:gd name="connsiteY53" fmla="*/ 8166 h 10036"/>
                  <a:gd name="connsiteX54" fmla="*/ 5559 w 10205"/>
                  <a:gd name="connsiteY54" fmla="*/ 8282 h 10036"/>
                  <a:gd name="connsiteX55" fmla="*/ 5643 w 10205"/>
                  <a:gd name="connsiteY55" fmla="*/ 8423 h 10036"/>
                  <a:gd name="connsiteX56" fmla="*/ 5722 w 10205"/>
                  <a:gd name="connsiteY56" fmla="*/ 8570 h 10036"/>
                  <a:gd name="connsiteX57" fmla="*/ 5749 w 10205"/>
                  <a:gd name="connsiteY57" fmla="*/ 8732 h 10036"/>
                  <a:gd name="connsiteX58" fmla="*/ 5785 w 10205"/>
                  <a:gd name="connsiteY58" fmla="*/ 8725 h 10036"/>
                  <a:gd name="connsiteX59" fmla="*/ 5813 w 10205"/>
                  <a:gd name="connsiteY59" fmla="*/ 8725 h 10036"/>
                  <a:gd name="connsiteX60" fmla="*/ 5842 w 10205"/>
                  <a:gd name="connsiteY60" fmla="*/ 8719 h 10036"/>
                  <a:gd name="connsiteX61" fmla="*/ 5870 w 10205"/>
                  <a:gd name="connsiteY61" fmla="*/ 8719 h 10036"/>
                  <a:gd name="connsiteX62" fmla="*/ 5907 w 10205"/>
                  <a:gd name="connsiteY62" fmla="*/ 8713 h 10036"/>
                  <a:gd name="connsiteX63" fmla="*/ 5940 w 10205"/>
                  <a:gd name="connsiteY63" fmla="*/ 8713 h 10036"/>
                  <a:gd name="connsiteX64" fmla="*/ 5970 w 10205"/>
                  <a:gd name="connsiteY64" fmla="*/ 8713 h 10036"/>
                  <a:gd name="connsiteX65" fmla="*/ 6007 w 10205"/>
                  <a:gd name="connsiteY65" fmla="*/ 8713 h 10036"/>
                  <a:gd name="connsiteX66" fmla="*/ 6155 w 10205"/>
                  <a:gd name="connsiteY66" fmla="*/ 8719 h 10036"/>
                  <a:gd name="connsiteX67" fmla="*/ 6291 w 10205"/>
                  <a:gd name="connsiteY67" fmla="*/ 8752 h 10036"/>
                  <a:gd name="connsiteX68" fmla="*/ 6427 w 10205"/>
                  <a:gd name="connsiteY68" fmla="*/ 8797 h 10036"/>
                  <a:gd name="connsiteX69" fmla="*/ 6549 w 10205"/>
                  <a:gd name="connsiteY69" fmla="*/ 8862 h 10036"/>
                  <a:gd name="connsiteX70" fmla="*/ 6662 w 10205"/>
                  <a:gd name="connsiteY70" fmla="*/ 8938 h 10036"/>
                  <a:gd name="connsiteX71" fmla="*/ 6763 w 10205"/>
                  <a:gd name="connsiteY71" fmla="*/ 9021 h 10036"/>
                  <a:gd name="connsiteX72" fmla="*/ 6842 w 10205"/>
                  <a:gd name="connsiteY72" fmla="*/ 9131 h 10036"/>
                  <a:gd name="connsiteX73" fmla="*/ 6914 w 10205"/>
                  <a:gd name="connsiteY73" fmla="*/ 9239 h 10036"/>
                  <a:gd name="connsiteX74" fmla="*/ 2841 w 10205"/>
                  <a:gd name="connsiteY74" fmla="*/ 9239 h 10036"/>
                  <a:gd name="connsiteX75" fmla="*/ 2883 w 10205"/>
                  <a:gd name="connsiteY75" fmla="*/ 9156 h 10036"/>
                  <a:gd name="connsiteX76" fmla="*/ 2940 w 10205"/>
                  <a:gd name="connsiteY76" fmla="*/ 9073 h 10036"/>
                  <a:gd name="connsiteX77" fmla="*/ 2998 w 10205"/>
                  <a:gd name="connsiteY77" fmla="*/ 9009 h 10036"/>
                  <a:gd name="connsiteX78" fmla="*/ 3073 w 10205"/>
                  <a:gd name="connsiteY78" fmla="*/ 8945 h 10036"/>
                  <a:gd name="connsiteX79" fmla="*/ 3146 w 10205"/>
                  <a:gd name="connsiteY79" fmla="*/ 8894 h 10036"/>
                  <a:gd name="connsiteX80" fmla="*/ 3232 w 10205"/>
                  <a:gd name="connsiteY80" fmla="*/ 8842 h 10036"/>
                  <a:gd name="connsiteX81" fmla="*/ 3318 w 10205"/>
                  <a:gd name="connsiteY81" fmla="*/ 8804 h 10036"/>
                  <a:gd name="connsiteX82" fmla="*/ 3418 w 10205"/>
                  <a:gd name="connsiteY82" fmla="*/ 8772 h 10036"/>
                  <a:gd name="connsiteX83" fmla="*/ 3418 w 10205"/>
                  <a:gd name="connsiteY83" fmla="*/ 7948 h 10036"/>
                  <a:gd name="connsiteX84" fmla="*/ 1173 w 10205"/>
                  <a:gd name="connsiteY84" fmla="*/ 8032 h 10036"/>
                  <a:gd name="connsiteX85" fmla="*/ 3 w 10205"/>
                  <a:gd name="connsiteY85" fmla="*/ 7682 h 10036"/>
                  <a:gd name="connsiteX86" fmla="*/ 2290 w 10205"/>
                  <a:gd name="connsiteY86" fmla="*/ 9456 h 10036"/>
                  <a:gd name="connsiteX87" fmla="*/ 6149 w 10205"/>
                  <a:gd name="connsiteY87" fmla="*/ 9983 h 10036"/>
                  <a:gd name="connsiteX88" fmla="*/ 8700 w 10205"/>
                  <a:gd name="connsiteY88" fmla="*/ 8953 h 10036"/>
                  <a:gd name="connsiteX0" fmla="*/ 8700 w 10207"/>
                  <a:gd name="connsiteY0" fmla="*/ 8953 h 10105"/>
                  <a:gd name="connsiteX1" fmla="*/ 10156 w 10207"/>
                  <a:gd name="connsiteY1" fmla="*/ 7158 h 10105"/>
                  <a:gd name="connsiteX2" fmla="*/ 9279 w 10207"/>
                  <a:gd name="connsiteY2" fmla="*/ 7158 h 10105"/>
                  <a:gd name="connsiteX3" fmla="*/ 9279 w 10207"/>
                  <a:gd name="connsiteY3" fmla="*/ 4003 h 10105"/>
                  <a:gd name="connsiteX4" fmla="*/ 7113 w 10207"/>
                  <a:gd name="connsiteY4" fmla="*/ 4003 h 10105"/>
                  <a:gd name="connsiteX5" fmla="*/ 7113 w 10207"/>
                  <a:gd name="connsiteY5" fmla="*/ 3700 h 10105"/>
                  <a:gd name="connsiteX6" fmla="*/ 8844 w 10207"/>
                  <a:gd name="connsiteY6" fmla="*/ 3700 h 10105"/>
                  <a:gd name="connsiteX7" fmla="*/ 8844 w 10207"/>
                  <a:gd name="connsiteY7" fmla="*/ 3392 h 10105"/>
                  <a:gd name="connsiteX8" fmla="*/ 7113 w 10207"/>
                  <a:gd name="connsiteY8" fmla="*/ 3392 h 10105"/>
                  <a:gd name="connsiteX9" fmla="*/ 7113 w 10207"/>
                  <a:gd name="connsiteY9" fmla="*/ 1324 h 10105"/>
                  <a:gd name="connsiteX10" fmla="*/ 4564 w 10207"/>
                  <a:gd name="connsiteY10" fmla="*/ 534 h 10105"/>
                  <a:gd name="connsiteX11" fmla="*/ 4564 w 10207"/>
                  <a:gd name="connsiteY11" fmla="*/ 5500 h 10105"/>
                  <a:gd name="connsiteX12" fmla="*/ 4160 w 10207"/>
                  <a:gd name="connsiteY12" fmla="*/ 5506 h 10105"/>
                  <a:gd name="connsiteX13" fmla="*/ 4160 w 10207"/>
                  <a:gd name="connsiteY13" fmla="*/ 1703 h 10105"/>
                  <a:gd name="connsiteX14" fmla="*/ 3303 w 10207"/>
                  <a:gd name="connsiteY14" fmla="*/ 1999 h 10105"/>
                  <a:gd name="connsiteX15" fmla="*/ 2841 w 10207"/>
                  <a:gd name="connsiteY15" fmla="*/ 1999 h 10105"/>
                  <a:gd name="connsiteX16" fmla="*/ 2841 w 10207"/>
                  <a:gd name="connsiteY16" fmla="*/ 0 h 10105"/>
                  <a:gd name="connsiteX17" fmla="*/ 2670 w 10207"/>
                  <a:gd name="connsiteY17" fmla="*/ 0 h 10105"/>
                  <a:gd name="connsiteX18" fmla="*/ 2670 w 10207"/>
                  <a:gd name="connsiteY18" fmla="*/ 1999 h 10105"/>
                  <a:gd name="connsiteX19" fmla="*/ 2278 w 10207"/>
                  <a:gd name="connsiteY19" fmla="*/ 1999 h 10105"/>
                  <a:gd name="connsiteX20" fmla="*/ 2278 w 10207"/>
                  <a:gd name="connsiteY20" fmla="*/ 2417 h 10105"/>
                  <a:gd name="connsiteX21" fmla="*/ 1571 w 10207"/>
                  <a:gd name="connsiteY21" fmla="*/ 2730 h 10105"/>
                  <a:gd name="connsiteX22" fmla="*/ 1571 w 10207"/>
                  <a:gd name="connsiteY22" fmla="*/ 4280 h 10105"/>
                  <a:gd name="connsiteX23" fmla="*/ 1193 w 10207"/>
                  <a:gd name="connsiteY23" fmla="*/ 4280 h 10105"/>
                  <a:gd name="connsiteX24" fmla="*/ 1193 w 10207"/>
                  <a:gd name="connsiteY24" fmla="*/ 4691 h 10105"/>
                  <a:gd name="connsiteX25" fmla="*/ 1571 w 10207"/>
                  <a:gd name="connsiteY25" fmla="*/ 4691 h 10105"/>
                  <a:gd name="connsiteX26" fmla="*/ 1571 w 10207"/>
                  <a:gd name="connsiteY26" fmla="*/ 5205 h 10105"/>
                  <a:gd name="connsiteX27" fmla="*/ 1193 w 10207"/>
                  <a:gd name="connsiteY27" fmla="*/ 5205 h 10105"/>
                  <a:gd name="connsiteX28" fmla="*/ 1193 w 10207"/>
                  <a:gd name="connsiteY28" fmla="*/ 5616 h 10105"/>
                  <a:gd name="connsiteX29" fmla="*/ 1571 w 10207"/>
                  <a:gd name="connsiteY29" fmla="*/ 5616 h 10105"/>
                  <a:gd name="connsiteX30" fmla="*/ 1571 w 10207"/>
                  <a:gd name="connsiteY30" fmla="*/ 6831 h 10105"/>
                  <a:gd name="connsiteX31" fmla="*/ 444 w 10207"/>
                  <a:gd name="connsiteY31" fmla="*/ 6831 h 10105"/>
                  <a:gd name="connsiteX32" fmla="*/ 444 w 10207"/>
                  <a:gd name="connsiteY32" fmla="*/ 7581 h 10105"/>
                  <a:gd name="connsiteX33" fmla="*/ 1022 w 10207"/>
                  <a:gd name="connsiteY33" fmla="*/ 7601 h 10105"/>
                  <a:gd name="connsiteX34" fmla="*/ 1805 w 10207"/>
                  <a:gd name="connsiteY34" fmla="*/ 7094 h 10105"/>
                  <a:gd name="connsiteX35" fmla="*/ 1798 w 10207"/>
                  <a:gd name="connsiteY35" fmla="*/ 7581 h 10105"/>
                  <a:gd name="connsiteX36" fmla="*/ 2519 w 10207"/>
                  <a:gd name="connsiteY36" fmla="*/ 7146 h 10105"/>
                  <a:gd name="connsiteX37" fmla="*/ 2519 w 10207"/>
                  <a:gd name="connsiteY37" fmla="*/ 7581 h 10105"/>
                  <a:gd name="connsiteX38" fmla="*/ 3232 w 10207"/>
                  <a:gd name="connsiteY38" fmla="*/ 7139 h 10105"/>
                  <a:gd name="connsiteX39" fmla="*/ 3238 w 10207"/>
                  <a:gd name="connsiteY39" fmla="*/ 7575 h 10105"/>
                  <a:gd name="connsiteX40" fmla="*/ 3924 w 10207"/>
                  <a:gd name="connsiteY40" fmla="*/ 7107 h 10105"/>
                  <a:gd name="connsiteX41" fmla="*/ 3924 w 10207"/>
                  <a:gd name="connsiteY41" fmla="*/ 8352 h 10105"/>
                  <a:gd name="connsiteX42" fmla="*/ 4004 w 10207"/>
                  <a:gd name="connsiteY42" fmla="*/ 8262 h 10105"/>
                  <a:gd name="connsiteX43" fmla="*/ 4081 w 10207"/>
                  <a:gd name="connsiteY43" fmla="*/ 8179 h 10105"/>
                  <a:gd name="connsiteX44" fmla="*/ 4177 w 10207"/>
                  <a:gd name="connsiteY44" fmla="*/ 8108 h 10105"/>
                  <a:gd name="connsiteX45" fmla="*/ 4282 w 10207"/>
                  <a:gd name="connsiteY45" fmla="*/ 8044 h 10105"/>
                  <a:gd name="connsiteX46" fmla="*/ 4387 w 10207"/>
                  <a:gd name="connsiteY46" fmla="*/ 8000 h 10105"/>
                  <a:gd name="connsiteX47" fmla="*/ 4501 w 10207"/>
                  <a:gd name="connsiteY47" fmla="*/ 7967 h 10105"/>
                  <a:gd name="connsiteX48" fmla="*/ 4621 w 10207"/>
                  <a:gd name="connsiteY48" fmla="*/ 7942 h 10105"/>
                  <a:gd name="connsiteX49" fmla="*/ 4757 w 10207"/>
                  <a:gd name="connsiteY49" fmla="*/ 7935 h 10105"/>
                  <a:gd name="connsiteX50" fmla="*/ 4944 w 10207"/>
                  <a:gd name="connsiteY50" fmla="*/ 7948 h 10105"/>
                  <a:gd name="connsiteX51" fmla="*/ 5130 w 10207"/>
                  <a:gd name="connsiteY51" fmla="*/ 7993 h 10105"/>
                  <a:gd name="connsiteX52" fmla="*/ 5279 w 10207"/>
                  <a:gd name="connsiteY52" fmla="*/ 8070 h 10105"/>
                  <a:gd name="connsiteX53" fmla="*/ 5431 w 10207"/>
                  <a:gd name="connsiteY53" fmla="*/ 8166 h 10105"/>
                  <a:gd name="connsiteX54" fmla="*/ 5559 w 10207"/>
                  <a:gd name="connsiteY54" fmla="*/ 8282 h 10105"/>
                  <a:gd name="connsiteX55" fmla="*/ 5643 w 10207"/>
                  <a:gd name="connsiteY55" fmla="*/ 8423 h 10105"/>
                  <a:gd name="connsiteX56" fmla="*/ 5722 w 10207"/>
                  <a:gd name="connsiteY56" fmla="*/ 8570 h 10105"/>
                  <a:gd name="connsiteX57" fmla="*/ 5749 w 10207"/>
                  <a:gd name="connsiteY57" fmla="*/ 8732 h 10105"/>
                  <a:gd name="connsiteX58" fmla="*/ 5785 w 10207"/>
                  <a:gd name="connsiteY58" fmla="*/ 8725 h 10105"/>
                  <a:gd name="connsiteX59" fmla="*/ 5813 w 10207"/>
                  <a:gd name="connsiteY59" fmla="*/ 8725 h 10105"/>
                  <a:gd name="connsiteX60" fmla="*/ 5842 w 10207"/>
                  <a:gd name="connsiteY60" fmla="*/ 8719 h 10105"/>
                  <a:gd name="connsiteX61" fmla="*/ 5870 w 10207"/>
                  <a:gd name="connsiteY61" fmla="*/ 8719 h 10105"/>
                  <a:gd name="connsiteX62" fmla="*/ 5907 w 10207"/>
                  <a:gd name="connsiteY62" fmla="*/ 8713 h 10105"/>
                  <a:gd name="connsiteX63" fmla="*/ 5940 w 10207"/>
                  <a:gd name="connsiteY63" fmla="*/ 8713 h 10105"/>
                  <a:gd name="connsiteX64" fmla="*/ 5970 w 10207"/>
                  <a:gd name="connsiteY64" fmla="*/ 8713 h 10105"/>
                  <a:gd name="connsiteX65" fmla="*/ 6007 w 10207"/>
                  <a:gd name="connsiteY65" fmla="*/ 8713 h 10105"/>
                  <a:gd name="connsiteX66" fmla="*/ 6155 w 10207"/>
                  <a:gd name="connsiteY66" fmla="*/ 8719 h 10105"/>
                  <a:gd name="connsiteX67" fmla="*/ 6291 w 10207"/>
                  <a:gd name="connsiteY67" fmla="*/ 8752 h 10105"/>
                  <a:gd name="connsiteX68" fmla="*/ 6427 w 10207"/>
                  <a:gd name="connsiteY68" fmla="*/ 8797 h 10105"/>
                  <a:gd name="connsiteX69" fmla="*/ 6549 w 10207"/>
                  <a:gd name="connsiteY69" fmla="*/ 8862 h 10105"/>
                  <a:gd name="connsiteX70" fmla="*/ 6662 w 10207"/>
                  <a:gd name="connsiteY70" fmla="*/ 8938 h 10105"/>
                  <a:gd name="connsiteX71" fmla="*/ 6763 w 10207"/>
                  <a:gd name="connsiteY71" fmla="*/ 9021 h 10105"/>
                  <a:gd name="connsiteX72" fmla="*/ 6842 w 10207"/>
                  <a:gd name="connsiteY72" fmla="*/ 9131 h 10105"/>
                  <a:gd name="connsiteX73" fmla="*/ 6914 w 10207"/>
                  <a:gd name="connsiteY73" fmla="*/ 9239 h 10105"/>
                  <a:gd name="connsiteX74" fmla="*/ 2841 w 10207"/>
                  <a:gd name="connsiteY74" fmla="*/ 9239 h 10105"/>
                  <a:gd name="connsiteX75" fmla="*/ 2883 w 10207"/>
                  <a:gd name="connsiteY75" fmla="*/ 9156 h 10105"/>
                  <a:gd name="connsiteX76" fmla="*/ 2940 w 10207"/>
                  <a:gd name="connsiteY76" fmla="*/ 9073 h 10105"/>
                  <a:gd name="connsiteX77" fmla="*/ 2998 w 10207"/>
                  <a:gd name="connsiteY77" fmla="*/ 9009 h 10105"/>
                  <a:gd name="connsiteX78" fmla="*/ 3073 w 10207"/>
                  <a:gd name="connsiteY78" fmla="*/ 8945 h 10105"/>
                  <a:gd name="connsiteX79" fmla="*/ 3146 w 10207"/>
                  <a:gd name="connsiteY79" fmla="*/ 8894 h 10105"/>
                  <a:gd name="connsiteX80" fmla="*/ 3232 w 10207"/>
                  <a:gd name="connsiteY80" fmla="*/ 8842 h 10105"/>
                  <a:gd name="connsiteX81" fmla="*/ 3318 w 10207"/>
                  <a:gd name="connsiteY81" fmla="*/ 8804 h 10105"/>
                  <a:gd name="connsiteX82" fmla="*/ 3418 w 10207"/>
                  <a:gd name="connsiteY82" fmla="*/ 8772 h 10105"/>
                  <a:gd name="connsiteX83" fmla="*/ 3418 w 10207"/>
                  <a:gd name="connsiteY83" fmla="*/ 7948 h 10105"/>
                  <a:gd name="connsiteX84" fmla="*/ 1173 w 10207"/>
                  <a:gd name="connsiteY84" fmla="*/ 8032 h 10105"/>
                  <a:gd name="connsiteX85" fmla="*/ 3 w 10207"/>
                  <a:gd name="connsiteY85" fmla="*/ 7682 h 10105"/>
                  <a:gd name="connsiteX86" fmla="*/ 2290 w 10207"/>
                  <a:gd name="connsiteY86" fmla="*/ 9456 h 10105"/>
                  <a:gd name="connsiteX87" fmla="*/ 5787 w 10207"/>
                  <a:gd name="connsiteY87" fmla="*/ 10078 h 10105"/>
                  <a:gd name="connsiteX88" fmla="*/ 8700 w 10207"/>
                  <a:gd name="connsiteY88" fmla="*/ 8953 h 10105"/>
                  <a:gd name="connsiteX0" fmla="*/ 8700 w 10207"/>
                  <a:gd name="connsiteY0" fmla="*/ 8953 h 10115"/>
                  <a:gd name="connsiteX1" fmla="*/ 10156 w 10207"/>
                  <a:gd name="connsiteY1" fmla="*/ 7158 h 10115"/>
                  <a:gd name="connsiteX2" fmla="*/ 9279 w 10207"/>
                  <a:gd name="connsiteY2" fmla="*/ 7158 h 10115"/>
                  <a:gd name="connsiteX3" fmla="*/ 9279 w 10207"/>
                  <a:gd name="connsiteY3" fmla="*/ 4003 h 10115"/>
                  <a:gd name="connsiteX4" fmla="*/ 7113 w 10207"/>
                  <a:gd name="connsiteY4" fmla="*/ 4003 h 10115"/>
                  <a:gd name="connsiteX5" fmla="*/ 7113 w 10207"/>
                  <a:gd name="connsiteY5" fmla="*/ 3700 h 10115"/>
                  <a:gd name="connsiteX6" fmla="*/ 8844 w 10207"/>
                  <a:gd name="connsiteY6" fmla="*/ 3700 h 10115"/>
                  <a:gd name="connsiteX7" fmla="*/ 8844 w 10207"/>
                  <a:gd name="connsiteY7" fmla="*/ 3392 h 10115"/>
                  <a:gd name="connsiteX8" fmla="*/ 7113 w 10207"/>
                  <a:gd name="connsiteY8" fmla="*/ 3392 h 10115"/>
                  <a:gd name="connsiteX9" fmla="*/ 7113 w 10207"/>
                  <a:gd name="connsiteY9" fmla="*/ 1324 h 10115"/>
                  <a:gd name="connsiteX10" fmla="*/ 4564 w 10207"/>
                  <a:gd name="connsiteY10" fmla="*/ 534 h 10115"/>
                  <a:gd name="connsiteX11" fmla="*/ 4564 w 10207"/>
                  <a:gd name="connsiteY11" fmla="*/ 5500 h 10115"/>
                  <a:gd name="connsiteX12" fmla="*/ 4160 w 10207"/>
                  <a:gd name="connsiteY12" fmla="*/ 5506 h 10115"/>
                  <a:gd name="connsiteX13" fmla="*/ 4160 w 10207"/>
                  <a:gd name="connsiteY13" fmla="*/ 1703 h 10115"/>
                  <a:gd name="connsiteX14" fmla="*/ 3303 w 10207"/>
                  <a:gd name="connsiteY14" fmla="*/ 1999 h 10115"/>
                  <a:gd name="connsiteX15" fmla="*/ 2841 w 10207"/>
                  <a:gd name="connsiteY15" fmla="*/ 1999 h 10115"/>
                  <a:gd name="connsiteX16" fmla="*/ 2841 w 10207"/>
                  <a:gd name="connsiteY16" fmla="*/ 0 h 10115"/>
                  <a:gd name="connsiteX17" fmla="*/ 2670 w 10207"/>
                  <a:gd name="connsiteY17" fmla="*/ 0 h 10115"/>
                  <a:gd name="connsiteX18" fmla="*/ 2670 w 10207"/>
                  <a:gd name="connsiteY18" fmla="*/ 1999 h 10115"/>
                  <a:gd name="connsiteX19" fmla="*/ 2278 w 10207"/>
                  <a:gd name="connsiteY19" fmla="*/ 1999 h 10115"/>
                  <a:gd name="connsiteX20" fmla="*/ 2278 w 10207"/>
                  <a:gd name="connsiteY20" fmla="*/ 2417 h 10115"/>
                  <a:gd name="connsiteX21" fmla="*/ 1571 w 10207"/>
                  <a:gd name="connsiteY21" fmla="*/ 2730 h 10115"/>
                  <a:gd name="connsiteX22" fmla="*/ 1571 w 10207"/>
                  <a:gd name="connsiteY22" fmla="*/ 4280 h 10115"/>
                  <a:gd name="connsiteX23" fmla="*/ 1193 w 10207"/>
                  <a:gd name="connsiteY23" fmla="*/ 4280 h 10115"/>
                  <a:gd name="connsiteX24" fmla="*/ 1193 w 10207"/>
                  <a:gd name="connsiteY24" fmla="*/ 4691 h 10115"/>
                  <a:gd name="connsiteX25" fmla="*/ 1571 w 10207"/>
                  <a:gd name="connsiteY25" fmla="*/ 4691 h 10115"/>
                  <a:gd name="connsiteX26" fmla="*/ 1571 w 10207"/>
                  <a:gd name="connsiteY26" fmla="*/ 5205 h 10115"/>
                  <a:gd name="connsiteX27" fmla="*/ 1193 w 10207"/>
                  <a:gd name="connsiteY27" fmla="*/ 5205 h 10115"/>
                  <a:gd name="connsiteX28" fmla="*/ 1193 w 10207"/>
                  <a:gd name="connsiteY28" fmla="*/ 5616 h 10115"/>
                  <a:gd name="connsiteX29" fmla="*/ 1571 w 10207"/>
                  <a:gd name="connsiteY29" fmla="*/ 5616 h 10115"/>
                  <a:gd name="connsiteX30" fmla="*/ 1571 w 10207"/>
                  <a:gd name="connsiteY30" fmla="*/ 6831 h 10115"/>
                  <a:gd name="connsiteX31" fmla="*/ 444 w 10207"/>
                  <a:gd name="connsiteY31" fmla="*/ 6831 h 10115"/>
                  <a:gd name="connsiteX32" fmla="*/ 444 w 10207"/>
                  <a:gd name="connsiteY32" fmla="*/ 7581 h 10115"/>
                  <a:gd name="connsiteX33" fmla="*/ 1022 w 10207"/>
                  <a:gd name="connsiteY33" fmla="*/ 7601 h 10115"/>
                  <a:gd name="connsiteX34" fmla="*/ 1805 w 10207"/>
                  <a:gd name="connsiteY34" fmla="*/ 7094 h 10115"/>
                  <a:gd name="connsiteX35" fmla="*/ 1798 w 10207"/>
                  <a:gd name="connsiteY35" fmla="*/ 7581 h 10115"/>
                  <a:gd name="connsiteX36" fmla="*/ 2519 w 10207"/>
                  <a:gd name="connsiteY36" fmla="*/ 7146 h 10115"/>
                  <a:gd name="connsiteX37" fmla="*/ 2519 w 10207"/>
                  <a:gd name="connsiteY37" fmla="*/ 7581 h 10115"/>
                  <a:gd name="connsiteX38" fmla="*/ 3232 w 10207"/>
                  <a:gd name="connsiteY38" fmla="*/ 7139 h 10115"/>
                  <a:gd name="connsiteX39" fmla="*/ 3238 w 10207"/>
                  <a:gd name="connsiteY39" fmla="*/ 7575 h 10115"/>
                  <a:gd name="connsiteX40" fmla="*/ 3924 w 10207"/>
                  <a:gd name="connsiteY40" fmla="*/ 7107 h 10115"/>
                  <a:gd name="connsiteX41" fmla="*/ 3924 w 10207"/>
                  <a:gd name="connsiteY41" fmla="*/ 8352 h 10115"/>
                  <a:gd name="connsiteX42" fmla="*/ 4004 w 10207"/>
                  <a:gd name="connsiteY42" fmla="*/ 8262 h 10115"/>
                  <a:gd name="connsiteX43" fmla="*/ 4081 w 10207"/>
                  <a:gd name="connsiteY43" fmla="*/ 8179 h 10115"/>
                  <a:gd name="connsiteX44" fmla="*/ 4177 w 10207"/>
                  <a:gd name="connsiteY44" fmla="*/ 8108 h 10115"/>
                  <a:gd name="connsiteX45" fmla="*/ 4282 w 10207"/>
                  <a:gd name="connsiteY45" fmla="*/ 8044 h 10115"/>
                  <a:gd name="connsiteX46" fmla="*/ 4387 w 10207"/>
                  <a:gd name="connsiteY46" fmla="*/ 8000 h 10115"/>
                  <a:gd name="connsiteX47" fmla="*/ 4501 w 10207"/>
                  <a:gd name="connsiteY47" fmla="*/ 7967 h 10115"/>
                  <a:gd name="connsiteX48" fmla="*/ 4621 w 10207"/>
                  <a:gd name="connsiteY48" fmla="*/ 7942 h 10115"/>
                  <a:gd name="connsiteX49" fmla="*/ 4757 w 10207"/>
                  <a:gd name="connsiteY49" fmla="*/ 7935 h 10115"/>
                  <a:gd name="connsiteX50" fmla="*/ 4944 w 10207"/>
                  <a:gd name="connsiteY50" fmla="*/ 7948 h 10115"/>
                  <a:gd name="connsiteX51" fmla="*/ 5130 w 10207"/>
                  <a:gd name="connsiteY51" fmla="*/ 7993 h 10115"/>
                  <a:gd name="connsiteX52" fmla="*/ 5279 w 10207"/>
                  <a:gd name="connsiteY52" fmla="*/ 8070 h 10115"/>
                  <a:gd name="connsiteX53" fmla="*/ 5431 w 10207"/>
                  <a:gd name="connsiteY53" fmla="*/ 8166 h 10115"/>
                  <a:gd name="connsiteX54" fmla="*/ 5559 w 10207"/>
                  <a:gd name="connsiteY54" fmla="*/ 8282 h 10115"/>
                  <a:gd name="connsiteX55" fmla="*/ 5643 w 10207"/>
                  <a:gd name="connsiteY55" fmla="*/ 8423 h 10115"/>
                  <a:gd name="connsiteX56" fmla="*/ 5722 w 10207"/>
                  <a:gd name="connsiteY56" fmla="*/ 8570 h 10115"/>
                  <a:gd name="connsiteX57" fmla="*/ 5749 w 10207"/>
                  <a:gd name="connsiteY57" fmla="*/ 8732 h 10115"/>
                  <a:gd name="connsiteX58" fmla="*/ 5785 w 10207"/>
                  <a:gd name="connsiteY58" fmla="*/ 8725 h 10115"/>
                  <a:gd name="connsiteX59" fmla="*/ 5813 w 10207"/>
                  <a:gd name="connsiteY59" fmla="*/ 8725 h 10115"/>
                  <a:gd name="connsiteX60" fmla="*/ 5842 w 10207"/>
                  <a:gd name="connsiteY60" fmla="*/ 8719 h 10115"/>
                  <a:gd name="connsiteX61" fmla="*/ 5870 w 10207"/>
                  <a:gd name="connsiteY61" fmla="*/ 8719 h 10115"/>
                  <a:gd name="connsiteX62" fmla="*/ 5907 w 10207"/>
                  <a:gd name="connsiteY62" fmla="*/ 8713 h 10115"/>
                  <a:gd name="connsiteX63" fmla="*/ 5940 w 10207"/>
                  <a:gd name="connsiteY63" fmla="*/ 8713 h 10115"/>
                  <a:gd name="connsiteX64" fmla="*/ 5970 w 10207"/>
                  <a:gd name="connsiteY64" fmla="*/ 8713 h 10115"/>
                  <a:gd name="connsiteX65" fmla="*/ 6007 w 10207"/>
                  <a:gd name="connsiteY65" fmla="*/ 8713 h 10115"/>
                  <a:gd name="connsiteX66" fmla="*/ 6155 w 10207"/>
                  <a:gd name="connsiteY66" fmla="*/ 8719 h 10115"/>
                  <a:gd name="connsiteX67" fmla="*/ 6291 w 10207"/>
                  <a:gd name="connsiteY67" fmla="*/ 8752 h 10115"/>
                  <a:gd name="connsiteX68" fmla="*/ 6427 w 10207"/>
                  <a:gd name="connsiteY68" fmla="*/ 8797 h 10115"/>
                  <a:gd name="connsiteX69" fmla="*/ 6549 w 10207"/>
                  <a:gd name="connsiteY69" fmla="*/ 8862 h 10115"/>
                  <a:gd name="connsiteX70" fmla="*/ 6662 w 10207"/>
                  <a:gd name="connsiteY70" fmla="*/ 8938 h 10115"/>
                  <a:gd name="connsiteX71" fmla="*/ 6763 w 10207"/>
                  <a:gd name="connsiteY71" fmla="*/ 9021 h 10115"/>
                  <a:gd name="connsiteX72" fmla="*/ 6842 w 10207"/>
                  <a:gd name="connsiteY72" fmla="*/ 9131 h 10115"/>
                  <a:gd name="connsiteX73" fmla="*/ 6914 w 10207"/>
                  <a:gd name="connsiteY73" fmla="*/ 9239 h 10115"/>
                  <a:gd name="connsiteX74" fmla="*/ 2841 w 10207"/>
                  <a:gd name="connsiteY74" fmla="*/ 9239 h 10115"/>
                  <a:gd name="connsiteX75" fmla="*/ 2883 w 10207"/>
                  <a:gd name="connsiteY75" fmla="*/ 9156 h 10115"/>
                  <a:gd name="connsiteX76" fmla="*/ 2940 w 10207"/>
                  <a:gd name="connsiteY76" fmla="*/ 9073 h 10115"/>
                  <a:gd name="connsiteX77" fmla="*/ 2998 w 10207"/>
                  <a:gd name="connsiteY77" fmla="*/ 9009 h 10115"/>
                  <a:gd name="connsiteX78" fmla="*/ 3073 w 10207"/>
                  <a:gd name="connsiteY78" fmla="*/ 8945 h 10115"/>
                  <a:gd name="connsiteX79" fmla="*/ 3146 w 10207"/>
                  <a:gd name="connsiteY79" fmla="*/ 8894 h 10115"/>
                  <a:gd name="connsiteX80" fmla="*/ 3232 w 10207"/>
                  <a:gd name="connsiteY80" fmla="*/ 8842 h 10115"/>
                  <a:gd name="connsiteX81" fmla="*/ 3318 w 10207"/>
                  <a:gd name="connsiteY81" fmla="*/ 8804 h 10115"/>
                  <a:gd name="connsiteX82" fmla="*/ 3418 w 10207"/>
                  <a:gd name="connsiteY82" fmla="*/ 8772 h 10115"/>
                  <a:gd name="connsiteX83" fmla="*/ 3418 w 10207"/>
                  <a:gd name="connsiteY83" fmla="*/ 7948 h 10115"/>
                  <a:gd name="connsiteX84" fmla="*/ 1173 w 10207"/>
                  <a:gd name="connsiteY84" fmla="*/ 8032 h 10115"/>
                  <a:gd name="connsiteX85" fmla="*/ 3 w 10207"/>
                  <a:gd name="connsiteY85" fmla="*/ 7682 h 10115"/>
                  <a:gd name="connsiteX86" fmla="*/ 2703 w 10207"/>
                  <a:gd name="connsiteY86" fmla="*/ 9646 h 10115"/>
                  <a:gd name="connsiteX87" fmla="*/ 5787 w 10207"/>
                  <a:gd name="connsiteY87" fmla="*/ 10078 h 10115"/>
                  <a:gd name="connsiteX88" fmla="*/ 8700 w 10207"/>
                  <a:gd name="connsiteY88" fmla="*/ 8953 h 10115"/>
                  <a:gd name="connsiteX0" fmla="*/ 8445 w 9952"/>
                  <a:gd name="connsiteY0" fmla="*/ 8953 h 10114"/>
                  <a:gd name="connsiteX1" fmla="*/ 9901 w 9952"/>
                  <a:gd name="connsiteY1" fmla="*/ 7158 h 10114"/>
                  <a:gd name="connsiteX2" fmla="*/ 9024 w 9952"/>
                  <a:gd name="connsiteY2" fmla="*/ 7158 h 10114"/>
                  <a:gd name="connsiteX3" fmla="*/ 9024 w 9952"/>
                  <a:gd name="connsiteY3" fmla="*/ 4003 h 10114"/>
                  <a:gd name="connsiteX4" fmla="*/ 6858 w 9952"/>
                  <a:gd name="connsiteY4" fmla="*/ 4003 h 10114"/>
                  <a:gd name="connsiteX5" fmla="*/ 6858 w 9952"/>
                  <a:gd name="connsiteY5" fmla="*/ 3700 h 10114"/>
                  <a:gd name="connsiteX6" fmla="*/ 8589 w 9952"/>
                  <a:gd name="connsiteY6" fmla="*/ 3700 h 10114"/>
                  <a:gd name="connsiteX7" fmla="*/ 8589 w 9952"/>
                  <a:gd name="connsiteY7" fmla="*/ 3392 h 10114"/>
                  <a:gd name="connsiteX8" fmla="*/ 6858 w 9952"/>
                  <a:gd name="connsiteY8" fmla="*/ 3392 h 10114"/>
                  <a:gd name="connsiteX9" fmla="*/ 6858 w 9952"/>
                  <a:gd name="connsiteY9" fmla="*/ 1324 h 10114"/>
                  <a:gd name="connsiteX10" fmla="*/ 4309 w 9952"/>
                  <a:gd name="connsiteY10" fmla="*/ 534 h 10114"/>
                  <a:gd name="connsiteX11" fmla="*/ 4309 w 9952"/>
                  <a:gd name="connsiteY11" fmla="*/ 5500 h 10114"/>
                  <a:gd name="connsiteX12" fmla="*/ 3905 w 9952"/>
                  <a:gd name="connsiteY12" fmla="*/ 5506 h 10114"/>
                  <a:gd name="connsiteX13" fmla="*/ 3905 w 9952"/>
                  <a:gd name="connsiteY13" fmla="*/ 1703 h 10114"/>
                  <a:gd name="connsiteX14" fmla="*/ 3048 w 9952"/>
                  <a:gd name="connsiteY14" fmla="*/ 1999 h 10114"/>
                  <a:gd name="connsiteX15" fmla="*/ 2586 w 9952"/>
                  <a:gd name="connsiteY15" fmla="*/ 1999 h 10114"/>
                  <a:gd name="connsiteX16" fmla="*/ 2586 w 9952"/>
                  <a:gd name="connsiteY16" fmla="*/ 0 h 10114"/>
                  <a:gd name="connsiteX17" fmla="*/ 2415 w 9952"/>
                  <a:gd name="connsiteY17" fmla="*/ 0 h 10114"/>
                  <a:gd name="connsiteX18" fmla="*/ 2415 w 9952"/>
                  <a:gd name="connsiteY18" fmla="*/ 1999 h 10114"/>
                  <a:gd name="connsiteX19" fmla="*/ 2023 w 9952"/>
                  <a:gd name="connsiteY19" fmla="*/ 1999 h 10114"/>
                  <a:gd name="connsiteX20" fmla="*/ 2023 w 9952"/>
                  <a:gd name="connsiteY20" fmla="*/ 2417 h 10114"/>
                  <a:gd name="connsiteX21" fmla="*/ 1316 w 9952"/>
                  <a:gd name="connsiteY21" fmla="*/ 2730 h 10114"/>
                  <a:gd name="connsiteX22" fmla="*/ 1316 w 9952"/>
                  <a:gd name="connsiteY22" fmla="*/ 4280 h 10114"/>
                  <a:gd name="connsiteX23" fmla="*/ 938 w 9952"/>
                  <a:gd name="connsiteY23" fmla="*/ 4280 h 10114"/>
                  <a:gd name="connsiteX24" fmla="*/ 938 w 9952"/>
                  <a:gd name="connsiteY24" fmla="*/ 4691 h 10114"/>
                  <a:gd name="connsiteX25" fmla="*/ 1316 w 9952"/>
                  <a:gd name="connsiteY25" fmla="*/ 4691 h 10114"/>
                  <a:gd name="connsiteX26" fmla="*/ 1316 w 9952"/>
                  <a:gd name="connsiteY26" fmla="*/ 5205 h 10114"/>
                  <a:gd name="connsiteX27" fmla="*/ 938 w 9952"/>
                  <a:gd name="connsiteY27" fmla="*/ 5205 h 10114"/>
                  <a:gd name="connsiteX28" fmla="*/ 938 w 9952"/>
                  <a:gd name="connsiteY28" fmla="*/ 5616 h 10114"/>
                  <a:gd name="connsiteX29" fmla="*/ 1316 w 9952"/>
                  <a:gd name="connsiteY29" fmla="*/ 5616 h 10114"/>
                  <a:gd name="connsiteX30" fmla="*/ 1316 w 9952"/>
                  <a:gd name="connsiteY30" fmla="*/ 6831 h 10114"/>
                  <a:gd name="connsiteX31" fmla="*/ 189 w 9952"/>
                  <a:gd name="connsiteY31" fmla="*/ 6831 h 10114"/>
                  <a:gd name="connsiteX32" fmla="*/ 189 w 9952"/>
                  <a:gd name="connsiteY32" fmla="*/ 7581 h 10114"/>
                  <a:gd name="connsiteX33" fmla="*/ 767 w 9952"/>
                  <a:gd name="connsiteY33" fmla="*/ 7601 h 10114"/>
                  <a:gd name="connsiteX34" fmla="*/ 1550 w 9952"/>
                  <a:gd name="connsiteY34" fmla="*/ 7094 h 10114"/>
                  <a:gd name="connsiteX35" fmla="*/ 1543 w 9952"/>
                  <a:gd name="connsiteY35" fmla="*/ 7581 h 10114"/>
                  <a:gd name="connsiteX36" fmla="*/ 2264 w 9952"/>
                  <a:gd name="connsiteY36" fmla="*/ 7146 h 10114"/>
                  <a:gd name="connsiteX37" fmla="*/ 2264 w 9952"/>
                  <a:gd name="connsiteY37" fmla="*/ 7581 h 10114"/>
                  <a:gd name="connsiteX38" fmla="*/ 2977 w 9952"/>
                  <a:gd name="connsiteY38" fmla="*/ 7139 h 10114"/>
                  <a:gd name="connsiteX39" fmla="*/ 2983 w 9952"/>
                  <a:gd name="connsiteY39" fmla="*/ 7575 h 10114"/>
                  <a:gd name="connsiteX40" fmla="*/ 3669 w 9952"/>
                  <a:gd name="connsiteY40" fmla="*/ 7107 h 10114"/>
                  <a:gd name="connsiteX41" fmla="*/ 3669 w 9952"/>
                  <a:gd name="connsiteY41" fmla="*/ 8352 h 10114"/>
                  <a:gd name="connsiteX42" fmla="*/ 3749 w 9952"/>
                  <a:gd name="connsiteY42" fmla="*/ 8262 h 10114"/>
                  <a:gd name="connsiteX43" fmla="*/ 3826 w 9952"/>
                  <a:gd name="connsiteY43" fmla="*/ 8179 h 10114"/>
                  <a:gd name="connsiteX44" fmla="*/ 3922 w 9952"/>
                  <a:gd name="connsiteY44" fmla="*/ 8108 h 10114"/>
                  <a:gd name="connsiteX45" fmla="*/ 4027 w 9952"/>
                  <a:gd name="connsiteY45" fmla="*/ 8044 h 10114"/>
                  <a:gd name="connsiteX46" fmla="*/ 4132 w 9952"/>
                  <a:gd name="connsiteY46" fmla="*/ 8000 h 10114"/>
                  <a:gd name="connsiteX47" fmla="*/ 4246 w 9952"/>
                  <a:gd name="connsiteY47" fmla="*/ 7967 h 10114"/>
                  <a:gd name="connsiteX48" fmla="*/ 4366 w 9952"/>
                  <a:gd name="connsiteY48" fmla="*/ 7942 h 10114"/>
                  <a:gd name="connsiteX49" fmla="*/ 4502 w 9952"/>
                  <a:gd name="connsiteY49" fmla="*/ 7935 h 10114"/>
                  <a:gd name="connsiteX50" fmla="*/ 4689 w 9952"/>
                  <a:gd name="connsiteY50" fmla="*/ 7948 h 10114"/>
                  <a:gd name="connsiteX51" fmla="*/ 4875 w 9952"/>
                  <a:gd name="connsiteY51" fmla="*/ 7993 h 10114"/>
                  <a:gd name="connsiteX52" fmla="*/ 5024 w 9952"/>
                  <a:gd name="connsiteY52" fmla="*/ 8070 h 10114"/>
                  <a:gd name="connsiteX53" fmla="*/ 5176 w 9952"/>
                  <a:gd name="connsiteY53" fmla="*/ 8166 h 10114"/>
                  <a:gd name="connsiteX54" fmla="*/ 5304 w 9952"/>
                  <a:gd name="connsiteY54" fmla="*/ 8282 h 10114"/>
                  <a:gd name="connsiteX55" fmla="*/ 5388 w 9952"/>
                  <a:gd name="connsiteY55" fmla="*/ 8423 h 10114"/>
                  <a:gd name="connsiteX56" fmla="*/ 5467 w 9952"/>
                  <a:gd name="connsiteY56" fmla="*/ 8570 h 10114"/>
                  <a:gd name="connsiteX57" fmla="*/ 5494 w 9952"/>
                  <a:gd name="connsiteY57" fmla="*/ 8732 h 10114"/>
                  <a:gd name="connsiteX58" fmla="*/ 5530 w 9952"/>
                  <a:gd name="connsiteY58" fmla="*/ 8725 h 10114"/>
                  <a:gd name="connsiteX59" fmla="*/ 5558 w 9952"/>
                  <a:gd name="connsiteY59" fmla="*/ 8725 h 10114"/>
                  <a:gd name="connsiteX60" fmla="*/ 5587 w 9952"/>
                  <a:gd name="connsiteY60" fmla="*/ 8719 h 10114"/>
                  <a:gd name="connsiteX61" fmla="*/ 5615 w 9952"/>
                  <a:gd name="connsiteY61" fmla="*/ 8719 h 10114"/>
                  <a:gd name="connsiteX62" fmla="*/ 5652 w 9952"/>
                  <a:gd name="connsiteY62" fmla="*/ 8713 h 10114"/>
                  <a:gd name="connsiteX63" fmla="*/ 5685 w 9952"/>
                  <a:gd name="connsiteY63" fmla="*/ 8713 h 10114"/>
                  <a:gd name="connsiteX64" fmla="*/ 5715 w 9952"/>
                  <a:gd name="connsiteY64" fmla="*/ 8713 h 10114"/>
                  <a:gd name="connsiteX65" fmla="*/ 5752 w 9952"/>
                  <a:gd name="connsiteY65" fmla="*/ 8713 h 10114"/>
                  <a:gd name="connsiteX66" fmla="*/ 5900 w 9952"/>
                  <a:gd name="connsiteY66" fmla="*/ 8719 h 10114"/>
                  <a:gd name="connsiteX67" fmla="*/ 6036 w 9952"/>
                  <a:gd name="connsiteY67" fmla="*/ 8752 h 10114"/>
                  <a:gd name="connsiteX68" fmla="*/ 6172 w 9952"/>
                  <a:gd name="connsiteY68" fmla="*/ 8797 h 10114"/>
                  <a:gd name="connsiteX69" fmla="*/ 6294 w 9952"/>
                  <a:gd name="connsiteY69" fmla="*/ 8862 h 10114"/>
                  <a:gd name="connsiteX70" fmla="*/ 6407 w 9952"/>
                  <a:gd name="connsiteY70" fmla="*/ 8938 h 10114"/>
                  <a:gd name="connsiteX71" fmla="*/ 6508 w 9952"/>
                  <a:gd name="connsiteY71" fmla="*/ 9021 h 10114"/>
                  <a:gd name="connsiteX72" fmla="*/ 6587 w 9952"/>
                  <a:gd name="connsiteY72" fmla="*/ 9131 h 10114"/>
                  <a:gd name="connsiteX73" fmla="*/ 6659 w 9952"/>
                  <a:gd name="connsiteY73" fmla="*/ 9239 h 10114"/>
                  <a:gd name="connsiteX74" fmla="*/ 2586 w 9952"/>
                  <a:gd name="connsiteY74" fmla="*/ 9239 h 10114"/>
                  <a:gd name="connsiteX75" fmla="*/ 2628 w 9952"/>
                  <a:gd name="connsiteY75" fmla="*/ 9156 h 10114"/>
                  <a:gd name="connsiteX76" fmla="*/ 2685 w 9952"/>
                  <a:gd name="connsiteY76" fmla="*/ 9073 h 10114"/>
                  <a:gd name="connsiteX77" fmla="*/ 2743 w 9952"/>
                  <a:gd name="connsiteY77" fmla="*/ 9009 h 10114"/>
                  <a:gd name="connsiteX78" fmla="*/ 2818 w 9952"/>
                  <a:gd name="connsiteY78" fmla="*/ 8945 h 10114"/>
                  <a:gd name="connsiteX79" fmla="*/ 2891 w 9952"/>
                  <a:gd name="connsiteY79" fmla="*/ 8894 h 10114"/>
                  <a:gd name="connsiteX80" fmla="*/ 2977 w 9952"/>
                  <a:gd name="connsiteY80" fmla="*/ 8842 h 10114"/>
                  <a:gd name="connsiteX81" fmla="*/ 3063 w 9952"/>
                  <a:gd name="connsiteY81" fmla="*/ 8804 h 10114"/>
                  <a:gd name="connsiteX82" fmla="*/ 3163 w 9952"/>
                  <a:gd name="connsiteY82" fmla="*/ 8772 h 10114"/>
                  <a:gd name="connsiteX83" fmla="*/ 3163 w 9952"/>
                  <a:gd name="connsiteY83" fmla="*/ 7948 h 10114"/>
                  <a:gd name="connsiteX84" fmla="*/ 918 w 9952"/>
                  <a:gd name="connsiteY84" fmla="*/ 8032 h 10114"/>
                  <a:gd name="connsiteX85" fmla="*/ 6 w 9952"/>
                  <a:gd name="connsiteY85" fmla="*/ 7777 h 10114"/>
                  <a:gd name="connsiteX86" fmla="*/ 2448 w 9952"/>
                  <a:gd name="connsiteY86" fmla="*/ 9646 h 10114"/>
                  <a:gd name="connsiteX87" fmla="*/ 5532 w 9952"/>
                  <a:gd name="connsiteY87" fmla="*/ 10078 h 10114"/>
                  <a:gd name="connsiteX88" fmla="*/ 8445 w 9952"/>
                  <a:gd name="connsiteY88" fmla="*/ 8953 h 101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52" h="10114">
                    <a:moveTo>
                      <a:pt x="8445" y="8953"/>
                    </a:moveTo>
                    <a:cubicBezTo>
                      <a:pt x="9173" y="8466"/>
                      <a:pt x="10194" y="7158"/>
                      <a:pt x="9901" y="7158"/>
                    </a:cubicBezTo>
                    <a:lnTo>
                      <a:pt x="9024" y="7158"/>
                    </a:lnTo>
                    <a:lnTo>
                      <a:pt x="9024" y="4003"/>
                    </a:lnTo>
                    <a:lnTo>
                      <a:pt x="6858" y="4003"/>
                    </a:lnTo>
                    <a:lnTo>
                      <a:pt x="6858" y="3700"/>
                    </a:lnTo>
                    <a:lnTo>
                      <a:pt x="8589" y="3700"/>
                    </a:lnTo>
                    <a:lnTo>
                      <a:pt x="8589" y="3392"/>
                    </a:lnTo>
                    <a:lnTo>
                      <a:pt x="6858" y="3392"/>
                    </a:lnTo>
                    <a:lnTo>
                      <a:pt x="6858" y="1324"/>
                    </a:lnTo>
                    <a:lnTo>
                      <a:pt x="4309" y="534"/>
                    </a:lnTo>
                    <a:lnTo>
                      <a:pt x="4309" y="5500"/>
                    </a:lnTo>
                    <a:lnTo>
                      <a:pt x="3905" y="5506"/>
                    </a:lnTo>
                    <a:lnTo>
                      <a:pt x="3905" y="1703"/>
                    </a:lnTo>
                    <a:lnTo>
                      <a:pt x="3048" y="1999"/>
                    </a:lnTo>
                    <a:lnTo>
                      <a:pt x="2586" y="1999"/>
                    </a:lnTo>
                    <a:lnTo>
                      <a:pt x="2586" y="0"/>
                    </a:lnTo>
                    <a:lnTo>
                      <a:pt x="2415" y="0"/>
                    </a:lnTo>
                    <a:lnTo>
                      <a:pt x="2415" y="1999"/>
                    </a:lnTo>
                    <a:lnTo>
                      <a:pt x="2023" y="1999"/>
                    </a:lnTo>
                    <a:lnTo>
                      <a:pt x="2023" y="2417"/>
                    </a:lnTo>
                    <a:lnTo>
                      <a:pt x="1316" y="2730"/>
                    </a:lnTo>
                    <a:lnTo>
                      <a:pt x="1316" y="4280"/>
                    </a:lnTo>
                    <a:lnTo>
                      <a:pt x="938" y="4280"/>
                    </a:lnTo>
                    <a:lnTo>
                      <a:pt x="938" y="4691"/>
                    </a:lnTo>
                    <a:lnTo>
                      <a:pt x="1316" y="4691"/>
                    </a:lnTo>
                    <a:lnTo>
                      <a:pt x="1316" y="5205"/>
                    </a:lnTo>
                    <a:lnTo>
                      <a:pt x="938" y="5205"/>
                    </a:lnTo>
                    <a:lnTo>
                      <a:pt x="938" y="5616"/>
                    </a:lnTo>
                    <a:lnTo>
                      <a:pt x="1316" y="5616"/>
                    </a:lnTo>
                    <a:lnTo>
                      <a:pt x="1316" y="6831"/>
                    </a:lnTo>
                    <a:lnTo>
                      <a:pt x="189" y="6831"/>
                    </a:lnTo>
                    <a:lnTo>
                      <a:pt x="189" y="7581"/>
                    </a:lnTo>
                    <a:lnTo>
                      <a:pt x="767" y="7601"/>
                    </a:lnTo>
                    <a:lnTo>
                      <a:pt x="1550" y="7094"/>
                    </a:lnTo>
                    <a:cubicBezTo>
                      <a:pt x="1548" y="7257"/>
                      <a:pt x="1547" y="7419"/>
                      <a:pt x="1543" y="7581"/>
                    </a:cubicBezTo>
                    <a:lnTo>
                      <a:pt x="2264" y="7146"/>
                    </a:lnTo>
                    <a:lnTo>
                      <a:pt x="2264" y="7581"/>
                    </a:lnTo>
                    <a:lnTo>
                      <a:pt x="2977" y="7139"/>
                    </a:lnTo>
                    <a:cubicBezTo>
                      <a:pt x="2980" y="7283"/>
                      <a:pt x="2981" y="7429"/>
                      <a:pt x="2983" y="7575"/>
                    </a:cubicBezTo>
                    <a:lnTo>
                      <a:pt x="3669" y="7107"/>
                    </a:lnTo>
                    <a:lnTo>
                      <a:pt x="3669" y="8352"/>
                    </a:lnTo>
                    <a:cubicBezTo>
                      <a:pt x="3695" y="8322"/>
                      <a:pt x="3724" y="8292"/>
                      <a:pt x="3749" y="8262"/>
                    </a:cubicBezTo>
                    <a:cubicBezTo>
                      <a:pt x="3773" y="8234"/>
                      <a:pt x="3801" y="8207"/>
                      <a:pt x="3826" y="8179"/>
                    </a:cubicBezTo>
                    <a:cubicBezTo>
                      <a:pt x="3858" y="8156"/>
                      <a:pt x="3888" y="8131"/>
                      <a:pt x="3922" y="8108"/>
                    </a:cubicBezTo>
                    <a:cubicBezTo>
                      <a:pt x="3957" y="8087"/>
                      <a:pt x="3991" y="8065"/>
                      <a:pt x="4027" y="8044"/>
                    </a:cubicBezTo>
                    <a:cubicBezTo>
                      <a:pt x="4063" y="8030"/>
                      <a:pt x="4095" y="8014"/>
                      <a:pt x="4132" y="8000"/>
                    </a:cubicBezTo>
                    <a:lnTo>
                      <a:pt x="4246" y="7967"/>
                    </a:lnTo>
                    <a:cubicBezTo>
                      <a:pt x="4286" y="7958"/>
                      <a:pt x="4327" y="7950"/>
                      <a:pt x="4366" y="7942"/>
                    </a:cubicBezTo>
                    <a:lnTo>
                      <a:pt x="4502" y="7935"/>
                    </a:lnTo>
                    <a:lnTo>
                      <a:pt x="4689" y="7948"/>
                    </a:lnTo>
                    <a:lnTo>
                      <a:pt x="4875" y="7993"/>
                    </a:lnTo>
                    <a:cubicBezTo>
                      <a:pt x="4925" y="8018"/>
                      <a:pt x="4974" y="8044"/>
                      <a:pt x="5024" y="8070"/>
                    </a:cubicBezTo>
                    <a:cubicBezTo>
                      <a:pt x="5074" y="8101"/>
                      <a:pt x="5124" y="8134"/>
                      <a:pt x="5176" y="8166"/>
                    </a:cubicBezTo>
                    <a:cubicBezTo>
                      <a:pt x="5215" y="8205"/>
                      <a:pt x="5259" y="8243"/>
                      <a:pt x="5304" y="8282"/>
                    </a:cubicBezTo>
                    <a:cubicBezTo>
                      <a:pt x="5331" y="8329"/>
                      <a:pt x="5360" y="8376"/>
                      <a:pt x="5388" y="8423"/>
                    </a:cubicBezTo>
                    <a:cubicBezTo>
                      <a:pt x="5415" y="8472"/>
                      <a:pt x="5442" y="8521"/>
                      <a:pt x="5467" y="8570"/>
                    </a:cubicBezTo>
                    <a:cubicBezTo>
                      <a:pt x="5477" y="8623"/>
                      <a:pt x="5486" y="8679"/>
                      <a:pt x="5494" y="8732"/>
                    </a:cubicBezTo>
                    <a:cubicBezTo>
                      <a:pt x="5505" y="8730"/>
                      <a:pt x="5518" y="8727"/>
                      <a:pt x="5530" y="8725"/>
                    </a:cubicBezTo>
                    <a:lnTo>
                      <a:pt x="5558" y="8725"/>
                    </a:lnTo>
                    <a:cubicBezTo>
                      <a:pt x="5570" y="8723"/>
                      <a:pt x="5578" y="8721"/>
                      <a:pt x="5587" y="8719"/>
                    </a:cubicBezTo>
                    <a:lnTo>
                      <a:pt x="5615" y="8719"/>
                    </a:lnTo>
                    <a:cubicBezTo>
                      <a:pt x="5627" y="8717"/>
                      <a:pt x="5639" y="8714"/>
                      <a:pt x="5652" y="8713"/>
                    </a:cubicBezTo>
                    <a:lnTo>
                      <a:pt x="5685" y="8713"/>
                    </a:lnTo>
                    <a:lnTo>
                      <a:pt x="5715" y="8713"/>
                    </a:lnTo>
                    <a:lnTo>
                      <a:pt x="5752" y="8713"/>
                    </a:lnTo>
                    <a:lnTo>
                      <a:pt x="5900" y="8719"/>
                    </a:lnTo>
                    <a:lnTo>
                      <a:pt x="6036" y="8752"/>
                    </a:lnTo>
                    <a:cubicBezTo>
                      <a:pt x="6083" y="8767"/>
                      <a:pt x="6128" y="8782"/>
                      <a:pt x="6172" y="8797"/>
                    </a:cubicBezTo>
                    <a:cubicBezTo>
                      <a:pt x="6214" y="8818"/>
                      <a:pt x="6254" y="8840"/>
                      <a:pt x="6294" y="8862"/>
                    </a:cubicBezTo>
                    <a:cubicBezTo>
                      <a:pt x="6332" y="8887"/>
                      <a:pt x="6369" y="8913"/>
                      <a:pt x="6407" y="8938"/>
                    </a:cubicBezTo>
                    <a:cubicBezTo>
                      <a:pt x="6440" y="8966"/>
                      <a:pt x="6474" y="8993"/>
                      <a:pt x="6508" y="9021"/>
                    </a:cubicBezTo>
                    <a:cubicBezTo>
                      <a:pt x="6533" y="9058"/>
                      <a:pt x="6562" y="9094"/>
                      <a:pt x="6587" y="9131"/>
                    </a:cubicBezTo>
                    <a:cubicBezTo>
                      <a:pt x="6611" y="9167"/>
                      <a:pt x="6633" y="9204"/>
                      <a:pt x="6659" y="9239"/>
                    </a:cubicBezTo>
                    <a:lnTo>
                      <a:pt x="2586" y="9239"/>
                    </a:lnTo>
                    <a:cubicBezTo>
                      <a:pt x="2601" y="9211"/>
                      <a:pt x="2613" y="9184"/>
                      <a:pt x="2628" y="9156"/>
                    </a:cubicBezTo>
                    <a:cubicBezTo>
                      <a:pt x="2646" y="9128"/>
                      <a:pt x="2665" y="9101"/>
                      <a:pt x="2685" y="9073"/>
                    </a:cubicBezTo>
                    <a:cubicBezTo>
                      <a:pt x="2705" y="9051"/>
                      <a:pt x="2723" y="9030"/>
                      <a:pt x="2743" y="9009"/>
                    </a:cubicBezTo>
                    <a:cubicBezTo>
                      <a:pt x="2769" y="8988"/>
                      <a:pt x="2795" y="8966"/>
                      <a:pt x="2818" y="8945"/>
                    </a:cubicBezTo>
                    <a:lnTo>
                      <a:pt x="2891" y="8894"/>
                    </a:lnTo>
                    <a:cubicBezTo>
                      <a:pt x="2919" y="8876"/>
                      <a:pt x="2948" y="8860"/>
                      <a:pt x="2977" y="8842"/>
                    </a:cubicBezTo>
                    <a:cubicBezTo>
                      <a:pt x="3006" y="8830"/>
                      <a:pt x="3034" y="8816"/>
                      <a:pt x="3063" y="8804"/>
                    </a:cubicBezTo>
                    <a:cubicBezTo>
                      <a:pt x="3096" y="8793"/>
                      <a:pt x="3130" y="8783"/>
                      <a:pt x="3163" y="8772"/>
                    </a:cubicBezTo>
                    <a:lnTo>
                      <a:pt x="3163" y="7948"/>
                    </a:lnTo>
                    <a:lnTo>
                      <a:pt x="918" y="8032"/>
                    </a:lnTo>
                    <a:cubicBezTo>
                      <a:pt x="271" y="7854"/>
                      <a:pt x="-48" y="7519"/>
                      <a:pt x="6" y="7777"/>
                    </a:cubicBezTo>
                    <a:cubicBezTo>
                      <a:pt x="660" y="8678"/>
                      <a:pt x="1527" y="9263"/>
                      <a:pt x="2448" y="9646"/>
                    </a:cubicBezTo>
                    <a:cubicBezTo>
                      <a:pt x="3369" y="10029"/>
                      <a:pt x="4533" y="10193"/>
                      <a:pt x="5532" y="10078"/>
                    </a:cubicBezTo>
                    <a:cubicBezTo>
                      <a:pt x="6531" y="9963"/>
                      <a:pt x="7717" y="9440"/>
                      <a:pt x="8445" y="8953"/>
                    </a:cubicBezTo>
                    <a:close/>
                  </a:path>
                </a:pathLst>
              </a:custGeom>
              <a:solidFill>
                <a:srgbClr val="DEECE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29" name="Rectangle 433">
                <a:extLst>
                  <a:ext uri="{FF2B5EF4-FFF2-40B4-BE49-F238E27FC236}">
                    <a16:creationId xmlns:a16="http://schemas.microsoft.com/office/drawing/2014/main" id="{95A271C4-5224-401B-901A-879182DC774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0" name="Rectangle 434">
                <a:extLst>
                  <a:ext uri="{FF2B5EF4-FFF2-40B4-BE49-F238E27FC236}">
                    <a16:creationId xmlns:a16="http://schemas.microsoft.com/office/drawing/2014/main" id="{11B308C0-7AF0-4C2A-84A1-96DB7FD118B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283277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1" name="Rectangle 435">
                <a:extLst>
                  <a:ext uri="{FF2B5EF4-FFF2-40B4-BE49-F238E27FC236}">
                    <a16:creationId xmlns:a16="http://schemas.microsoft.com/office/drawing/2014/main" id="{05D70E98-686B-49E8-ADA4-CBF46FB9972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2" name="Rectangle 436">
                <a:extLst>
                  <a:ext uri="{FF2B5EF4-FFF2-40B4-BE49-F238E27FC236}">
                    <a16:creationId xmlns:a16="http://schemas.microsoft.com/office/drawing/2014/main" id="{959E2C6C-4909-4722-B548-D276EA5A18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29653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3" name="Rectangle 437">
                <a:extLst>
                  <a:ext uri="{FF2B5EF4-FFF2-40B4-BE49-F238E27FC236}">
                    <a16:creationId xmlns:a16="http://schemas.microsoft.com/office/drawing/2014/main" id="{5FBA3772-464B-4739-9B05-B830FD5F6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4" name="Rectangle 438">
                <a:extLst>
                  <a:ext uri="{FF2B5EF4-FFF2-40B4-BE49-F238E27FC236}">
                    <a16:creationId xmlns:a16="http://schemas.microsoft.com/office/drawing/2014/main" id="{7D31E4E1-E962-42AC-A3DF-59FEBB9D8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376029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5" name="Rectangle 439">
                <a:extLst>
                  <a:ext uri="{FF2B5EF4-FFF2-40B4-BE49-F238E27FC236}">
                    <a16:creationId xmlns:a16="http://schemas.microsoft.com/office/drawing/2014/main" id="{82D27B1C-6E34-4D75-A076-CB8A5B9C1C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48823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6" name="Rectangle 440">
                <a:extLst>
                  <a:ext uri="{FF2B5EF4-FFF2-40B4-BE49-F238E27FC236}">
                    <a16:creationId xmlns:a16="http://schemas.microsoft.com/office/drawing/2014/main" id="{2296ADC8-73BB-4EEB-A1BB-415AD46AB4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96150" y="4422405"/>
                <a:ext cx="23663" cy="2383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7" name="Rectangle 441">
                <a:extLst>
                  <a:ext uri="{FF2B5EF4-FFF2-40B4-BE49-F238E27FC236}">
                    <a16:creationId xmlns:a16="http://schemas.microsoft.com/office/drawing/2014/main" id="{D9A13FB5-4E18-4FAB-B09E-282E17027E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8" name="Rectangle 442">
                <a:extLst>
                  <a:ext uri="{FF2B5EF4-FFF2-40B4-BE49-F238E27FC236}">
                    <a16:creationId xmlns:a16="http://schemas.microsoft.com/office/drawing/2014/main" id="{D449BA6D-4E04-414F-80C5-17773889AD3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09204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39" name="Rectangle 443">
                <a:extLst>
                  <a:ext uri="{FF2B5EF4-FFF2-40B4-BE49-F238E27FC236}">
                    <a16:creationId xmlns:a16="http://schemas.microsoft.com/office/drawing/2014/main" id="{BAA78A88-3F08-4527-A224-8B6F4F0B49C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0" name="Rectangle 444">
                <a:extLst>
                  <a:ext uri="{FF2B5EF4-FFF2-40B4-BE49-F238E27FC236}">
                    <a16:creationId xmlns:a16="http://schemas.microsoft.com/office/drawing/2014/main" id="{E698330E-A4F7-4CE8-B6E7-18EEF58C1D9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255580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1" name="Rectangle 445">
                <a:extLst>
                  <a:ext uri="{FF2B5EF4-FFF2-40B4-BE49-F238E27FC236}">
                    <a16:creationId xmlns:a16="http://schemas.microsoft.com/office/drawing/2014/main" id="{80532558-B141-4D4D-8CBF-9D92D076B4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2" name="Rectangle 446">
                <a:extLst>
                  <a:ext uri="{FF2B5EF4-FFF2-40B4-BE49-F238E27FC236}">
                    <a16:creationId xmlns:a16="http://schemas.microsoft.com/office/drawing/2014/main" id="{7F835AC1-2466-431A-A065-44E9E91D75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01956"/>
                <a:ext cx="23006" cy="2254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3" name="Rectangle 447">
                <a:extLst>
                  <a:ext uri="{FF2B5EF4-FFF2-40B4-BE49-F238E27FC236}">
                    <a16:creationId xmlns:a16="http://schemas.microsoft.com/office/drawing/2014/main" id="{9A8A5F12-70F9-4257-96E0-B6DFE0C568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4" name="Rectangle 448">
                <a:extLst>
                  <a:ext uri="{FF2B5EF4-FFF2-40B4-BE49-F238E27FC236}">
                    <a16:creationId xmlns:a16="http://schemas.microsoft.com/office/drawing/2014/main" id="{BFA53B72-5BD3-4F3C-A91B-41184AA42C1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51553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5" name="Rectangle 449">
                <a:extLst>
                  <a:ext uri="{FF2B5EF4-FFF2-40B4-BE49-F238E27FC236}">
                    <a16:creationId xmlns:a16="http://schemas.microsoft.com/office/drawing/2014/main" id="{73D78498-F814-4463-A731-30BE91D900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6" name="Rectangle 450">
                <a:extLst>
                  <a:ext uri="{FF2B5EF4-FFF2-40B4-BE49-F238E27FC236}">
                    <a16:creationId xmlns:a16="http://schemas.microsoft.com/office/drawing/2014/main" id="{DE466A25-0E8C-44EA-911B-7397209E19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397929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7" name="Rectangle 451">
                <a:extLst>
                  <a:ext uri="{FF2B5EF4-FFF2-40B4-BE49-F238E27FC236}">
                    <a16:creationId xmlns:a16="http://schemas.microsoft.com/office/drawing/2014/main" id="{364CCB09-B9E2-4385-ABC0-30ABAAF1AB9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88175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8" name="Rectangle 452">
                <a:extLst>
                  <a:ext uri="{FF2B5EF4-FFF2-40B4-BE49-F238E27FC236}">
                    <a16:creationId xmlns:a16="http://schemas.microsoft.com/office/drawing/2014/main" id="{40E29517-CEC1-456D-919B-1FD6137780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44305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49" name="Rectangle 453">
                <a:extLst>
                  <a:ext uri="{FF2B5EF4-FFF2-40B4-BE49-F238E27FC236}">
                    <a16:creationId xmlns:a16="http://schemas.microsoft.com/office/drawing/2014/main" id="{F5E3BB82-C62C-4912-9387-440EE8DDF21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5501" y="4490682"/>
                <a:ext cx="23006" cy="23188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0" name="Rectangle 454">
                <a:extLst>
                  <a:ext uri="{FF2B5EF4-FFF2-40B4-BE49-F238E27FC236}">
                    <a16:creationId xmlns:a16="http://schemas.microsoft.com/office/drawing/2014/main" id="{90DD37A7-62BF-41FE-8808-217236E3F26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90717" y="4341891"/>
                <a:ext cx="9860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2" name="Rectangle 455">
                <a:extLst>
                  <a:ext uri="{FF2B5EF4-FFF2-40B4-BE49-F238E27FC236}">
                    <a16:creationId xmlns:a16="http://schemas.microsoft.com/office/drawing/2014/main" id="{5D363ACE-7966-47CF-9F8E-5861FF72DC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19639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3" name="Rectangle 456">
                <a:extLst>
                  <a:ext uri="{FF2B5EF4-FFF2-40B4-BE49-F238E27FC236}">
                    <a16:creationId xmlns:a16="http://schemas.microsoft.com/office/drawing/2014/main" id="{4DC91282-8F96-40F7-BEC1-341F17E509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7903" y="4341891"/>
                <a:ext cx="10517" cy="21835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4" name="Rectangle 457">
                <a:extLst>
                  <a:ext uri="{FF2B5EF4-FFF2-40B4-BE49-F238E27FC236}">
                    <a16:creationId xmlns:a16="http://schemas.microsoft.com/office/drawing/2014/main" id="{E41EF80D-8D28-4563-A6EE-789B6658D8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20558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  <p:sp>
            <p:nvSpPr>
              <p:cNvPr id="55" name="Rectangle 459">
                <a:extLst>
                  <a:ext uri="{FF2B5EF4-FFF2-40B4-BE49-F238E27FC236}">
                    <a16:creationId xmlns:a16="http://schemas.microsoft.com/office/drawing/2014/main" id="{438EEEC8-AC55-4A68-8ABF-BF4CD44AF24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9997" y="4540279"/>
                <a:ext cx="18405" cy="17391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000"/>
              </a:p>
            </p:txBody>
          </p:sp>
        </p:grp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6F586644-36FD-47D6-9B45-56DB58C2A3C5}"/>
              </a:ext>
            </a:extLst>
          </p:cNvPr>
          <p:cNvGrpSpPr/>
          <p:nvPr/>
        </p:nvGrpSpPr>
        <p:grpSpPr>
          <a:xfrm>
            <a:off x="3565749" y="4356677"/>
            <a:ext cx="341184" cy="360000"/>
            <a:chOff x="3216946" y="5907019"/>
            <a:chExt cx="612000" cy="612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EA707FAC-BA2A-4A5D-B521-972A81590F64}"/>
                </a:ext>
              </a:extLst>
            </p:cNvPr>
            <p:cNvSpPr/>
            <p:nvPr/>
          </p:nvSpPr>
          <p:spPr bwMode="ltGray">
            <a:xfrm>
              <a:off x="3216946" y="5907019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8" name="Freeform 4912">
              <a:extLst>
                <a:ext uri="{FF2B5EF4-FFF2-40B4-BE49-F238E27FC236}">
                  <a16:creationId xmlns:a16="http://schemas.microsoft.com/office/drawing/2014/main" id="{5C4C7153-BA95-4BB8-A0E1-AEC97C8222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8956" y="6058947"/>
              <a:ext cx="387981" cy="337059"/>
            </a:xfrm>
            <a:custGeom>
              <a:avLst/>
              <a:gdLst>
                <a:gd name="T0" fmla="*/ 30 w 320"/>
                <a:gd name="T1" fmla="*/ 56 h 278"/>
                <a:gd name="T2" fmla="*/ 30 w 320"/>
                <a:gd name="T3" fmla="*/ 0 h 278"/>
                <a:gd name="T4" fmla="*/ 290 w 320"/>
                <a:gd name="T5" fmla="*/ 0 h 278"/>
                <a:gd name="T6" fmla="*/ 290 w 320"/>
                <a:gd name="T7" fmla="*/ 56 h 278"/>
                <a:gd name="T8" fmla="*/ 290 w 320"/>
                <a:gd name="T9" fmla="*/ 56 h 278"/>
                <a:gd name="T10" fmla="*/ 280 w 320"/>
                <a:gd name="T11" fmla="*/ 48 h 278"/>
                <a:gd name="T12" fmla="*/ 274 w 320"/>
                <a:gd name="T13" fmla="*/ 46 h 278"/>
                <a:gd name="T14" fmla="*/ 268 w 320"/>
                <a:gd name="T15" fmla="*/ 46 h 278"/>
                <a:gd name="T16" fmla="*/ 52 w 320"/>
                <a:gd name="T17" fmla="*/ 46 h 278"/>
                <a:gd name="T18" fmla="*/ 52 w 320"/>
                <a:gd name="T19" fmla="*/ 46 h 278"/>
                <a:gd name="T20" fmla="*/ 46 w 320"/>
                <a:gd name="T21" fmla="*/ 46 h 278"/>
                <a:gd name="T22" fmla="*/ 40 w 320"/>
                <a:gd name="T23" fmla="*/ 48 h 278"/>
                <a:gd name="T24" fmla="*/ 30 w 320"/>
                <a:gd name="T25" fmla="*/ 56 h 278"/>
                <a:gd name="T26" fmla="*/ 30 w 320"/>
                <a:gd name="T27" fmla="*/ 56 h 278"/>
                <a:gd name="T28" fmla="*/ 310 w 320"/>
                <a:gd name="T29" fmla="*/ 154 h 278"/>
                <a:gd name="T30" fmla="*/ 10 w 320"/>
                <a:gd name="T31" fmla="*/ 154 h 278"/>
                <a:gd name="T32" fmla="*/ 10 w 320"/>
                <a:gd name="T33" fmla="*/ 154 h 278"/>
                <a:gd name="T34" fmla="*/ 10 w 320"/>
                <a:gd name="T35" fmla="*/ 152 h 278"/>
                <a:gd name="T36" fmla="*/ 42 w 320"/>
                <a:gd name="T37" fmla="*/ 70 h 278"/>
                <a:gd name="T38" fmla="*/ 42 w 320"/>
                <a:gd name="T39" fmla="*/ 70 h 278"/>
                <a:gd name="T40" fmla="*/ 46 w 320"/>
                <a:gd name="T41" fmla="*/ 66 h 278"/>
                <a:gd name="T42" fmla="*/ 52 w 320"/>
                <a:gd name="T43" fmla="*/ 64 h 278"/>
                <a:gd name="T44" fmla="*/ 208 w 320"/>
                <a:gd name="T45" fmla="*/ 64 h 278"/>
                <a:gd name="T46" fmla="*/ 234 w 320"/>
                <a:gd name="T47" fmla="*/ 128 h 278"/>
                <a:gd name="T48" fmla="*/ 298 w 320"/>
                <a:gd name="T49" fmla="*/ 124 h 278"/>
                <a:gd name="T50" fmla="*/ 310 w 320"/>
                <a:gd name="T51" fmla="*/ 154 h 278"/>
                <a:gd name="T52" fmla="*/ 278 w 320"/>
                <a:gd name="T53" fmla="*/ 110 h 278"/>
                <a:gd name="T54" fmla="*/ 244 w 320"/>
                <a:gd name="T55" fmla="*/ 112 h 278"/>
                <a:gd name="T56" fmla="*/ 228 w 320"/>
                <a:gd name="T57" fmla="*/ 78 h 278"/>
                <a:gd name="T58" fmla="*/ 278 w 320"/>
                <a:gd name="T59" fmla="*/ 110 h 278"/>
                <a:gd name="T60" fmla="*/ 320 w 320"/>
                <a:gd name="T61" fmla="*/ 232 h 278"/>
                <a:gd name="T62" fmla="*/ 320 w 320"/>
                <a:gd name="T63" fmla="*/ 174 h 278"/>
                <a:gd name="T64" fmla="*/ 0 w 320"/>
                <a:gd name="T65" fmla="*/ 174 h 278"/>
                <a:gd name="T66" fmla="*/ 0 w 320"/>
                <a:gd name="T67" fmla="*/ 232 h 278"/>
                <a:gd name="T68" fmla="*/ 0 w 320"/>
                <a:gd name="T69" fmla="*/ 252 h 278"/>
                <a:gd name="T70" fmla="*/ 0 w 320"/>
                <a:gd name="T71" fmla="*/ 278 h 278"/>
                <a:gd name="T72" fmla="*/ 42 w 320"/>
                <a:gd name="T73" fmla="*/ 278 h 278"/>
                <a:gd name="T74" fmla="*/ 42 w 320"/>
                <a:gd name="T75" fmla="*/ 252 h 278"/>
                <a:gd name="T76" fmla="*/ 278 w 320"/>
                <a:gd name="T77" fmla="*/ 252 h 278"/>
                <a:gd name="T78" fmla="*/ 278 w 320"/>
                <a:gd name="T79" fmla="*/ 278 h 278"/>
                <a:gd name="T80" fmla="*/ 320 w 320"/>
                <a:gd name="T81" fmla="*/ 278 h 278"/>
                <a:gd name="T82" fmla="*/ 320 w 320"/>
                <a:gd name="T83" fmla="*/ 232 h 278"/>
                <a:gd name="T84" fmla="*/ 320 w 320"/>
                <a:gd name="T85" fmla="*/ 232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20" h="278">
                  <a:moveTo>
                    <a:pt x="30" y="56"/>
                  </a:moveTo>
                  <a:lnTo>
                    <a:pt x="30" y="0"/>
                  </a:lnTo>
                  <a:lnTo>
                    <a:pt x="290" y="0"/>
                  </a:lnTo>
                  <a:lnTo>
                    <a:pt x="290" y="56"/>
                  </a:lnTo>
                  <a:lnTo>
                    <a:pt x="290" y="56"/>
                  </a:lnTo>
                  <a:lnTo>
                    <a:pt x="280" y="48"/>
                  </a:lnTo>
                  <a:lnTo>
                    <a:pt x="274" y="46"/>
                  </a:lnTo>
                  <a:lnTo>
                    <a:pt x="268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46" y="46"/>
                  </a:lnTo>
                  <a:lnTo>
                    <a:pt x="40" y="48"/>
                  </a:lnTo>
                  <a:lnTo>
                    <a:pt x="30" y="56"/>
                  </a:lnTo>
                  <a:lnTo>
                    <a:pt x="30" y="56"/>
                  </a:lnTo>
                  <a:close/>
                  <a:moveTo>
                    <a:pt x="310" y="154"/>
                  </a:moveTo>
                  <a:lnTo>
                    <a:pt x="10" y="154"/>
                  </a:lnTo>
                  <a:lnTo>
                    <a:pt x="10" y="154"/>
                  </a:lnTo>
                  <a:lnTo>
                    <a:pt x="10" y="152"/>
                  </a:lnTo>
                  <a:lnTo>
                    <a:pt x="42" y="70"/>
                  </a:lnTo>
                  <a:lnTo>
                    <a:pt x="42" y="70"/>
                  </a:lnTo>
                  <a:lnTo>
                    <a:pt x="46" y="66"/>
                  </a:lnTo>
                  <a:lnTo>
                    <a:pt x="52" y="64"/>
                  </a:lnTo>
                  <a:lnTo>
                    <a:pt x="208" y="64"/>
                  </a:lnTo>
                  <a:lnTo>
                    <a:pt x="234" y="128"/>
                  </a:lnTo>
                  <a:lnTo>
                    <a:pt x="298" y="124"/>
                  </a:lnTo>
                  <a:lnTo>
                    <a:pt x="310" y="154"/>
                  </a:lnTo>
                  <a:close/>
                  <a:moveTo>
                    <a:pt x="278" y="110"/>
                  </a:moveTo>
                  <a:lnTo>
                    <a:pt x="244" y="112"/>
                  </a:lnTo>
                  <a:lnTo>
                    <a:pt x="228" y="78"/>
                  </a:lnTo>
                  <a:lnTo>
                    <a:pt x="278" y="110"/>
                  </a:lnTo>
                  <a:close/>
                  <a:moveTo>
                    <a:pt x="320" y="232"/>
                  </a:moveTo>
                  <a:lnTo>
                    <a:pt x="320" y="174"/>
                  </a:lnTo>
                  <a:lnTo>
                    <a:pt x="0" y="174"/>
                  </a:lnTo>
                  <a:lnTo>
                    <a:pt x="0" y="232"/>
                  </a:lnTo>
                  <a:lnTo>
                    <a:pt x="0" y="252"/>
                  </a:lnTo>
                  <a:lnTo>
                    <a:pt x="0" y="278"/>
                  </a:lnTo>
                  <a:lnTo>
                    <a:pt x="42" y="278"/>
                  </a:lnTo>
                  <a:lnTo>
                    <a:pt x="42" y="252"/>
                  </a:lnTo>
                  <a:lnTo>
                    <a:pt x="278" y="252"/>
                  </a:lnTo>
                  <a:lnTo>
                    <a:pt x="278" y="278"/>
                  </a:lnTo>
                  <a:lnTo>
                    <a:pt x="320" y="278"/>
                  </a:lnTo>
                  <a:lnTo>
                    <a:pt x="320" y="232"/>
                  </a:lnTo>
                  <a:lnTo>
                    <a:pt x="320" y="23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cxnSp>
        <p:nvCxnSpPr>
          <p:cNvPr id="59" name="Connector: Elbow 58">
            <a:extLst>
              <a:ext uri="{FF2B5EF4-FFF2-40B4-BE49-F238E27FC236}">
                <a16:creationId xmlns:a16="http://schemas.microsoft.com/office/drawing/2014/main" id="{599520D0-1AC1-46A7-A109-F0A6F0DEC1A3}"/>
              </a:ext>
            </a:extLst>
          </p:cNvPr>
          <p:cNvCxnSpPr>
            <a:cxnSpLocks/>
            <a:stCxn id="10" idx="1"/>
            <a:endCxn id="79" idx="3"/>
          </p:cNvCxnSpPr>
          <p:nvPr/>
        </p:nvCxnSpPr>
        <p:spPr>
          <a:xfrm rot="10800000">
            <a:off x="5831013" y="3520786"/>
            <a:ext cx="144618" cy="1073351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>
            <a:extLst>
              <a:ext uri="{FF2B5EF4-FFF2-40B4-BE49-F238E27FC236}">
                <a16:creationId xmlns:a16="http://schemas.microsoft.com/office/drawing/2014/main" id="{C162C44E-0A47-461E-862F-5F9454BE9183}"/>
              </a:ext>
            </a:extLst>
          </p:cNvPr>
          <p:cNvSpPr txBox="1"/>
          <p:nvPr/>
        </p:nvSpPr>
        <p:spPr bwMode="auto">
          <a:xfrm>
            <a:off x="8045843" y="4954235"/>
            <a:ext cx="1620000" cy="10881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468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>
              <a:lnSpc>
                <a:spcPts val="1200"/>
              </a:lnSpc>
            </a:pPr>
            <a:r>
              <a:rPr lang="el-GR" b="1" dirty="0"/>
              <a:t>2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τα υπόλοιπα αεροδρόμια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20C8BCFA-B135-42D6-9ED9-F5444D31CDC0}"/>
              </a:ext>
            </a:extLst>
          </p:cNvPr>
          <p:cNvGrpSpPr/>
          <p:nvPr/>
        </p:nvGrpSpPr>
        <p:grpSpPr>
          <a:xfrm>
            <a:off x="8088914" y="5003929"/>
            <a:ext cx="360000" cy="360000"/>
            <a:chOff x="4966372" y="4690710"/>
            <a:chExt cx="612000" cy="6120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5D05B376-A67D-4D61-B404-76D73C3A64D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65" name="Freeform 4968">
              <a:extLst>
                <a:ext uri="{FF2B5EF4-FFF2-40B4-BE49-F238E27FC236}">
                  <a16:creationId xmlns:a16="http://schemas.microsoft.com/office/drawing/2014/main" id="{01F80F10-DB66-4051-BD51-FC454236FD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2A32BB2F-0DA5-4664-9D5C-52FE31C0C765}"/>
              </a:ext>
            </a:extLst>
          </p:cNvPr>
          <p:cNvSpPr txBox="1"/>
          <p:nvPr/>
        </p:nvSpPr>
        <p:spPr bwMode="auto">
          <a:xfrm>
            <a:off x="5977553" y="4954234"/>
            <a:ext cx="1620000" cy="105972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b="1" dirty="0"/>
              <a:t>*</a:t>
            </a:r>
            <a:r>
              <a:rPr lang="en-US" b="1" dirty="0"/>
              <a:t> </a:t>
            </a:r>
            <a:r>
              <a:rPr lang="el-GR" b="1" dirty="0"/>
              <a:t>1</a:t>
            </a:r>
            <a:r>
              <a:rPr lang="el-GR" b="1" baseline="30000" dirty="0"/>
              <a:t>ο</a:t>
            </a:r>
            <a:r>
              <a:rPr lang="el-GR" b="1" dirty="0"/>
              <a:t> στάδιο </a:t>
            </a:r>
            <a:r>
              <a:rPr lang="el-GR" dirty="0"/>
              <a:t>απελευθέρωσης πτήσεων προς «Ελευθέριος Βενιζέλος»</a:t>
            </a:r>
          </a:p>
        </p:txBody>
      </p:sp>
      <p:cxnSp>
        <p:nvCxnSpPr>
          <p:cNvPr id="67" name="Connector: Elbow 66">
            <a:extLst>
              <a:ext uri="{FF2B5EF4-FFF2-40B4-BE49-F238E27FC236}">
                <a16:creationId xmlns:a16="http://schemas.microsoft.com/office/drawing/2014/main" id="{39139832-B29A-4938-87C2-8A8C5AE6C9B5}"/>
              </a:ext>
            </a:extLst>
          </p:cNvPr>
          <p:cNvCxnSpPr>
            <a:cxnSpLocks/>
            <a:stCxn id="66" idx="1"/>
            <a:endCxn id="79" idx="3"/>
          </p:cNvCxnSpPr>
          <p:nvPr/>
        </p:nvCxnSpPr>
        <p:spPr>
          <a:xfrm rot="10800000">
            <a:off x="5831013" y="3520786"/>
            <a:ext cx="146540" cy="196331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Connector: Elbow 70">
            <a:extLst>
              <a:ext uri="{FF2B5EF4-FFF2-40B4-BE49-F238E27FC236}">
                <a16:creationId xmlns:a16="http://schemas.microsoft.com/office/drawing/2014/main" id="{ECA27A27-89E4-47E3-B7A7-7268C14DD7C4}"/>
              </a:ext>
            </a:extLst>
          </p:cNvPr>
          <p:cNvCxnSpPr>
            <a:cxnSpLocks/>
            <a:stCxn id="62" idx="1"/>
            <a:endCxn id="80" idx="3"/>
          </p:cNvCxnSpPr>
          <p:nvPr/>
        </p:nvCxnSpPr>
        <p:spPr>
          <a:xfrm rot="10800000">
            <a:off x="7885441" y="3520786"/>
            <a:ext cx="160403" cy="1977533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id="{12C34EE8-4517-4149-8E69-BC7AB1061AF3}"/>
              </a:ext>
            </a:extLst>
          </p:cNvPr>
          <p:cNvSpPr txBox="1"/>
          <p:nvPr/>
        </p:nvSpPr>
        <p:spPr bwMode="auto">
          <a:xfrm>
            <a:off x="10094403" y="4954235"/>
            <a:ext cx="1524443" cy="1078818"/>
          </a:xfrm>
          <a:prstGeom prst="rightArrow">
            <a:avLst>
              <a:gd name="adj1" fmla="val 100000"/>
              <a:gd name="adj2" fmla="val 7190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04000" tIns="54000" rIns="54000" bIns="54000" numCol="1" anchor="t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dirty="0"/>
              <a:t>Σταδιακή άρση των υπόλοιπων εξαιρέσεων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397BD1EF-A9AF-480E-8F2A-EC4049E9B18B}"/>
              </a:ext>
            </a:extLst>
          </p:cNvPr>
          <p:cNvGrpSpPr/>
          <p:nvPr/>
        </p:nvGrpSpPr>
        <p:grpSpPr>
          <a:xfrm>
            <a:off x="10160539" y="5003929"/>
            <a:ext cx="360000" cy="360000"/>
            <a:chOff x="4966372" y="4690710"/>
            <a:chExt cx="612000" cy="612000"/>
          </a:xfrm>
        </p:grpSpPr>
        <p:sp>
          <p:nvSpPr>
            <p:cNvPr id="74" name="Oval 73">
              <a:extLst>
                <a:ext uri="{FF2B5EF4-FFF2-40B4-BE49-F238E27FC236}">
                  <a16:creationId xmlns:a16="http://schemas.microsoft.com/office/drawing/2014/main" id="{8C492E8A-3E96-439E-8F43-DCD324E1ABCF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75" name="Freeform 4968">
              <a:extLst>
                <a:ext uri="{FF2B5EF4-FFF2-40B4-BE49-F238E27FC236}">
                  <a16:creationId xmlns:a16="http://schemas.microsoft.com/office/drawing/2014/main" id="{76490083-25E8-4401-9203-2E24A26450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cxnSp>
        <p:nvCxnSpPr>
          <p:cNvPr id="76" name="Connector: Elbow 75">
            <a:extLst>
              <a:ext uri="{FF2B5EF4-FFF2-40B4-BE49-F238E27FC236}">
                <a16:creationId xmlns:a16="http://schemas.microsoft.com/office/drawing/2014/main" id="{A2B628F2-7E68-4C5C-B9E4-A7F1156868B9}"/>
              </a:ext>
            </a:extLst>
          </p:cNvPr>
          <p:cNvCxnSpPr>
            <a:cxnSpLocks/>
            <a:stCxn id="72" idx="1"/>
            <a:endCxn id="81" idx="3"/>
          </p:cNvCxnSpPr>
          <p:nvPr/>
        </p:nvCxnSpPr>
        <p:spPr>
          <a:xfrm rot="10800000">
            <a:off x="9947363" y="3520786"/>
            <a:ext cx="147040" cy="1972859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B86F89E0-BCA3-487C-8E6C-DBAFC18672CC}"/>
              </a:ext>
            </a:extLst>
          </p:cNvPr>
          <p:cNvSpPr txBox="1"/>
          <p:nvPr/>
        </p:nvSpPr>
        <p:spPr bwMode="auto">
          <a:xfrm>
            <a:off x="637109" y="1518368"/>
            <a:ext cx="10741131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σωτερικού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AC8F3C51-B8D9-40CB-8DF3-1D18842A5DDF}"/>
              </a:ext>
            </a:extLst>
          </p:cNvPr>
          <p:cNvSpPr txBox="1"/>
          <p:nvPr/>
        </p:nvSpPr>
        <p:spPr bwMode="auto">
          <a:xfrm>
            <a:off x="488470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5 </a:t>
            </a:r>
            <a:r>
              <a:rPr lang="el-GR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50CD29C4-1118-4BD1-B51A-8BBFB712CBA2}"/>
              </a:ext>
            </a:extLst>
          </p:cNvPr>
          <p:cNvSpPr txBox="1"/>
          <p:nvPr/>
        </p:nvSpPr>
        <p:spPr bwMode="auto">
          <a:xfrm>
            <a:off x="6939134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Τετάρτη 1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2584E930-6A55-4DF5-AA72-B459BD7E8D06}"/>
              </a:ext>
            </a:extLst>
          </p:cNvPr>
          <p:cNvSpPr txBox="1"/>
          <p:nvPr/>
        </p:nvSpPr>
        <p:spPr bwMode="auto">
          <a:xfrm>
            <a:off x="9001057" y="3176366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Από 15 Ιουλίου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FB5C8046-960E-4864-879E-21E7F8949D20}"/>
              </a:ext>
            </a:extLst>
          </p:cNvPr>
          <p:cNvSpPr txBox="1"/>
          <p:nvPr/>
        </p:nvSpPr>
        <p:spPr bwMode="auto">
          <a:xfrm>
            <a:off x="4884707" y="2264734"/>
            <a:ext cx="6493533" cy="539587"/>
          </a:xfrm>
          <a:prstGeom prst="rightArrow">
            <a:avLst>
              <a:gd name="adj1" fmla="val 100000"/>
              <a:gd name="adj2" fmla="val 50000"/>
            </a:avLst>
          </a:prstGeom>
          <a:solidFill>
            <a:srgbClr val="7F8FA9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solidFill>
                  <a:schemeClr val="bg1"/>
                </a:solidFill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l-GR" sz="2000" dirty="0"/>
              <a:t>Τουρισμός εξωτερικού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D45D8E37-06B6-49C9-A629-FB03BFFB7123}"/>
              </a:ext>
            </a:extLst>
          </p:cNvPr>
          <p:cNvCxnSpPr>
            <a:cxnSpLocks/>
          </p:cNvCxnSpPr>
          <p:nvPr/>
        </p:nvCxnSpPr>
        <p:spPr>
          <a:xfrm>
            <a:off x="547681" y="1518368"/>
            <a:ext cx="0" cy="234683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0255CC69-F129-4340-AFA7-68207CB92BCF}"/>
              </a:ext>
            </a:extLst>
          </p:cNvPr>
          <p:cNvCxnSpPr>
            <a:cxnSpLocks/>
          </p:cNvCxnSpPr>
          <p:nvPr/>
        </p:nvCxnSpPr>
        <p:spPr>
          <a:xfrm>
            <a:off x="4800600" y="2294551"/>
            <a:ext cx="0" cy="157065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5" name="Group 84">
            <a:extLst>
              <a:ext uri="{FF2B5EF4-FFF2-40B4-BE49-F238E27FC236}">
                <a16:creationId xmlns:a16="http://schemas.microsoft.com/office/drawing/2014/main" id="{F511950E-F1F7-4C30-9A20-19BD477761D4}"/>
              </a:ext>
            </a:extLst>
          </p:cNvPr>
          <p:cNvGrpSpPr/>
          <p:nvPr/>
        </p:nvGrpSpPr>
        <p:grpSpPr>
          <a:xfrm>
            <a:off x="6078317" y="5003929"/>
            <a:ext cx="360000" cy="360000"/>
            <a:chOff x="4966372" y="4690710"/>
            <a:chExt cx="612000" cy="612000"/>
          </a:xfrm>
        </p:grpSpPr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1BFAEF9A-E1BE-419C-8891-8C4D2AD4578E}"/>
                </a:ext>
              </a:extLst>
            </p:cNvPr>
            <p:cNvSpPr/>
            <p:nvPr/>
          </p:nvSpPr>
          <p:spPr bwMode="ltGray">
            <a:xfrm>
              <a:off x="4966372" y="4690710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87" name="Freeform 4968">
              <a:extLst>
                <a:ext uri="{FF2B5EF4-FFF2-40B4-BE49-F238E27FC236}">
                  <a16:creationId xmlns:a16="http://schemas.microsoft.com/office/drawing/2014/main" id="{4B293967-0A08-4889-9135-7B017C8A44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32493" y="4754408"/>
              <a:ext cx="479759" cy="484605"/>
            </a:xfrm>
            <a:custGeom>
              <a:avLst/>
              <a:gdLst>
                <a:gd name="T0" fmla="*/ 354 w 396"/>
                <a:gd name="T1" fmla="*/ 78 h 400"/>
                <a:gd name="T2" fmla="*/ 198 w 396"/>
                <a:gd name="T3" fmla="*/ 0 h 400"/>
                <a:gd name="T4" fmla="*/ 130 w 396"/>
                <a:gd name="T5" fmla="*/ 14 h 400"/>
                <a:gd name="T6" fmla="*/ 38 w 396"/>
                <a:gd name="T7" fmla="*/ 82 h 400"/>
                <a:gd name="T8" fmla="*/ 0 w 396"/>
                <a:gd name="T9" fmla="*/ 190 h 400"/>
                <a:gd name="T10" fmla="*/ 18 w 396"/>
                <a:gd name="T11" fmla="*/ 282 h 400"/>
                <a:gd name="T12" fmla="*/ 110 w 396"/>
                <a:gd name="T13" fmla="*/ 378 h 400"/>
                <a:gd name="T14" fmla="*/ 232 w 396"/>
                <a:gd name="T15" fmla="*/ 396 h 400"/>
                <a:gd name="T16" fmla="*/ 318 w 396"/>
                <a:gd name="T17" fmla="*/ 358 h 400"/>
                <a:gd name="T18" fmla="*/ 386 w 396"/>
                <a:gd name="T19" fmla="*/ 266 h 400"/>
                <a:gd name="T20" fmla="*/ 390 w 396"/>
                <a:gd name="T21" fmla="*/ 152 h 400"/>
                <a:gd name="T22" fmla="*/ 360 w 396"/>
                <a:gd name="T23" fmla="*/ 232 h 400"/>
                <a:gd name="T24" fmla="*/ 322 w 396"/>
                <a:gd name="T25" fmla="*/ 174 h 400"/>
                <a:gd name="T26" fmla="*/ 354 w 396"/>
                <a:gd name="T27" fmla="*/ 120 h 400"/>
                <a:gd name="T28" fmla="*/ 372 w 396"/>
                <a:gd name="T29" fmla="*/ 198 h 400"/>
                <a:gd name="T30" fmla="*/ 326 w 396"/>
                <a:gd name="T31" fmla="*/ 122 h 400"/>
                <a:gd name="T32" fmla="*/ 248 w 396"/>
                <a:gd name="T33" fmla="*/ 110 h 400"/>
                <a:gd name="T34" fmla="*/ 248 w 396"/>
                <a:gd name="T35" fmla="*/ 42 h 400"/>
                <a:gd name="T36" fmla="*/ 318 w 396"/>
                <a:gd name="T37" fmla="*/ 74 h 400"/>
                <a:gd name="T38" fmla="*/ 24 w 396"/>
                <a:gd name="T39" fmla="*/ 180 h 400"/>
                <a:gd name="T40" fmla="*/ 58 w 396"/>
                <a:gd name="T41" fmla="*/ 94 h 400"/>
                <a:gd name="T42" fmla="*/ 88 w 396"/>
                <a:gd name="T43" fmla="*/ 158 h 400"/>
                <a:gd name="T44" fmla="*/ 66 w 396"/>
                <a:gd name="T45" fmla="*/ 234 h 400"/>
                <a:gd name="T46" fmla="*/ 28 w 396"/>
                <a:gd name="T47" fmla="*/ 190 h 400"/>
                <a:gd name="T48" fmla="*/ 176 w 396"/>
                <a:gd name="T49" fmla="*/ 58 h 400"/>
                <a:gd name="T50" fmla="*/ 230 w 396"/>
                <a:gd name="T51" fmla="*/ 44 h 400"/>
                <a:gd name="T52" fmla="*/ 240 w 396"/>
                <a:gd name="T53" fmla="*/ 92 h 400"/>
                <a:gd name="T54" fmla="*/ 186 w 396"/>
                <a:gd name="T55" fmla="*/ 28 h 400"/>
                <a:gd name="T56" fmla="*/ 162 w 396"/>
                <a:gd name="T57" fmla="*/ 28 h 400"/>
                <a:gd name="T58" fmla="*/ 118 w 396"/>
                <a:gd name="T59" fmla="*/ 62 h 400"/>
                <a:gd name="T60" fmla="*/ 130 w 396"/>
                <a:gd name="T61" fmla="*/ 38 h 400"/>
                <a:gd name="T62" fmla="*/ 124 w 396"/>
                <a:gd name="T63" fmla="*/ 78 h 400"/>
                <a:gd name="T64" fmla="*/ 96 w 396"/>
                <a:gd name="T65" fmla="*/ 144 h 400"/>
                <a:gd name="T66" fmla="*/ 74 w 396"/>
                <a:gd name="T67" fmla="*/ 100 h 400"/>
                <a:gd name="T68" fmla="*/ 170 w 396"/>
                <a:gd name="T69" fmla="*/ 148 h 400"/>
                <a:gd name="T70" fmla="*/ 136 w 396"/>
                <a:gd name="T71" fmla="*/ 122 h 400"/>
                <a:gd name="T72" fmla="*/ 226 w 396"/>
                <a:gd name="T73" fmla="*/ 116 h 400"/>
                <a:gd name="T74" fmla="*/ 166 w 396"/>
                <a:gd name="T75" fmla="*/ 88 h 400"/>
                <a:gd name="T76" fmla="*/ 176 w 396"/>
                <a:gd name="T77" fmla="*/ 164 h 400"/>
                <a:gd name="T78" fmla="*/ 140 w 396"/>
                <a:gd name="T79" fmla="*/ 252 h 400"/>
                <a:gd name="T80" fmla="*/ 108 w 396"/>
                <a:gd name="T81" fmla="*/ 208 h 400"/>
                <a:gd name="T82" fmla="*/ 218 w 396"/>
                <a:gd name="T83" fmla="*/ 144 h 400"/>
                <a:gd name="T84" fmla="*/ 302 w 396"/>
                <a:gd name="T85" fmla="*/ 176 h 400"/>
                <a:gd name="T86" fmla="*/ 86 w 396"/>
                <a:gd name="T87" fmla="*/ 260 h 400"/>
                <a:gd name="T88" fmla="*/ 94 w 396"/>
                <a:gd name="T89" fmla="*/ 328 h 400"/>
                <a:gd name="T90" fmla="*/ 40 w 396"/>
                <a:gd name="T91" fmla="*/ 274 h 400"/>
                <a:gd name="T92" fmla="*/ 36 w 396"/>
                <a:gd name="T93" fmla="*/ 232 h 400"/>
                <a:gd name="T94" fmla="*/ 112 w 396"/>
                <a:gd name="T95" fmla="*/ 332 h 400"/>
                <a:gd name="T96" fmla="*/ 120 w 396"/>
                <a:gd name="T97" fmla="*/ 266 h 400"/>
                <a:gd name="T98" fmla="*/ 192 w 396"/>
                <a:gd name="T99" fmla="*/ 260 h 400"/>
                <a:gd name="T100" fmla="*/ 142 w 396"/>
                <a:gd name="T101" fmla="*/ 338 h 400"/>
                <a:gd name="T102" fmla="*/ 224 w 396"/>
                <a:gd name="T103" fmla="*/ 250 h 400"/>
                <a:gd name="T104" fmla="*/ 324 w 396"/>
                <a:gd name="T105" fmla="*/ 202 h 400"/>
                <a:gd name="T106" fmla="*/ 350 w 396"/>
                <a:gd name="T107" fmla="*/ 248 h 400"/>
                <a:gd name="T108" fmla="*/ 128 w 396"/>
                <a:gd name="T109" fmla="*/ 360 h 400"/>
                <a:gd name="T110" fmla="*/ 160 w 396"/>
                <a:gd name="T111" fmla="*/ 356 h 400"/>
                <a:gd name="T112" fmla="*/ 250 w 396"/>
                <a:gd name="T113" fmla="*/ 366 h 400"/>
                <a:gd name="T114" fmla="*/ 144 w 396"/>
                <a:gd name="T115" fmla="*/ 366 h 400"/>
                <a:gd name="T116" fmla="*/ 284 w 396"/>
                <a:gd name="T117" fmla="*/ 322 h 400"/>
                <a:gd name="T118" fmla="*/ 354 w 396"/>
                <a:gd name="T119" fmla="*/ 278 h 400"/>
                <a:gd name="T120" fmla="*/ 294 w 396"/>
                <a:gd name="T121" fmla="*/ 346 h 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96" h="400">
                  <a:moveTo>
                    <a:pt x="384" y="132"/>
                  </a:moveTo>
                  <a:lnTo>
                    <a:pt x="384" y="132"/>
                  </a:lnTo>
                  <a:lnTo>
                    <a:pt x="378" y="118"/>
                  </a:lnTo>
                  <a:lnTo>
                    <a:pt x="372" y="104"/>
                  </a:lnTo>
                  <a:lnTo>
                    <a:pt x="364" y="90"/>
                  </a:lnTo>
                  <a:lnTo>
                    <a:pt x="354" y="78"/>
                  </a:lnTo>
                  <a:lnTo>
                    <a:pt x="334" y="54"/>
                  </a:lnTo>
                  <a:lnTo>
                    <a:pt x="310" y="36"/>
                  </a:lnTo>
                  <a:lnTo>
                    <a:pt x="286" y="22"/>
                  </a:lnTo>
                  <a:lnTo>
                    <a:pt x="258" y="10"/>
                  </a:lnTo>
                  <a:lnTo>
                    <a:pt x="228" y="4"/>
                  </a:lnTo>
                  <a:lnTo>
                    <a:pt x="198" y="0"/>
                  </a:lnTo>
                  <a:lnTo>
                    <a:pt x="198" y="0"/>
                  </a:lnTo>
                  <a:lnTo>
                    <a:pt x="180" y="2"/>
                  </a:lnTo>
                  <a:lnTo>
                    <a:pt x="164" y="4"/>
                  </a:lnTo>
                  <a:lnTo>
                    <a:pt x="146" y="8"/>
                  </a:lnTo>
                  <a:lnTo>
                    <a:pt x="130" y="14"/>
                  </a:lnTo>
                  <a:lnTo>
                    <a:pt x="130" y="14"/>
                  </a:lnTo>
                  <a:lnTo>
                    <a:pt x="112" y="20"/>
                  </a:lnTo>
                  <a:lnTo>
                    <a:pt x="94" y="30"/>
                  </a:lnTo>
                  <a:lnTo>
                    <a:pt x="78" y="42"/>
                  </a:lnTo>
                  <a:lnTo>
                    <a:pt x="62" y="54"/>
                  </a:lnTo>
                  <a:lnTo>
                    <a:pt x="50" y="68"/>
                  </a:lnTo>
                  <a:lnTo>
                    <a:pt x="38" y="82"/>
                  </a:lnTo>
                  <a:lnTo>
                    <a:pt x="26" y="98"/>
                  </a:lnTo>
                  <a:lnTo>
                    <a:pt x="18" y="116"/>
                  </a:lnTo>
                  <a:lnTo>
                    <a:pt x="10" y="134"/>
                  </a:lnTo>
                  <a:lnTo>
                    <a:pt x="4" y="152"/>
                  </a:lnTo>
                  <a:lnTo>
                    <a:pt x="2" y="170"/>
                  </a:lnTo>
                  <a:lnTo>
                    <a:pt x="0" y="190"/>
                  </a:lnTo>
                  <a:lnTo>
                    <a:pt x="0" y="210"/>
                  </a:lnTo>
                  <a:lnTo>
                    <a:pt x="2" y="228"/>
                  </a:lnTo>
                  <a:lnTo>
                    <a:pt x="6" y="24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8" y="282"/>
                  </a:lnTo>
                  <a:lnTo>
                    <a:pt x="24" y="296"/>
                  </a:lnTo>
                  <a:lnTo>
                    <a:pt x="32" y="310"/>
                  </a:lnTo>
                  <a:lnTo>
                    <a:pt x="42" y="322"/>
                  </a:lnTo>
                  <a:lnTo>
                    <a:pt x="62" y="344"/>
                  </a:lnTo>
                  <a:lnTo>
                    <a:pt x="86" y="364"/>
                  </a:lnTo>
                  <a:lnTo>
                    <a:pt x="110" y="378"/>
                  </a:lnTo>
                  <a:lnTo>
                    <a:pt x="138" y="390"/>
                  </a:lnTo>
                  <a:lnTo>
                    <a:pt x="168" y="396"/>
                  </a:lnTo>
                  <a:lnTo>
                    <a:pt x="198" y="400"/>
                  </a:lnTo>
                  <a:lnTo>
                    <a:pt x="198" y="400"/>
                  </a:lnTo>
                  <a:lnTo>
                    <a:pt x="216" y="398"/>
                  </a:lnTo>
                  <a:lnTo>
                    <a:pt x="232" y="396"/>
                  </a:lnTo>
                  <a:lnTo>
                    <a:pt x="250" y="392"/>
                  </a:lnTo>
                  <a:lnTo>
                    <a:pt x="266" y="386"/>
                  </a:lnTo>
                  <a:lnTo>
                    <a:pt x="266" y="386"/>
                  </a:lnTo>
                  <a:lnTo>
                    <a:pt x="284" y="380"/>
                  </a:lnTo>
                  <a:lnTo>
                    <a:pt x="302" y="370"/>
                  </a:lnTo>
                  <a:lnTo>
                    <a:pt x="318" y="358"/>
                  </a:lnTo>
                  <a:lnTo>
                    <a:pt x="334" y="346"/>
                  </a:lnTo>
                  <a:lnTo>
                    <a:pt x="346" y="332"/>
                  </a:lnTo>
                  <a:lnTo>
                    <a:pt x="358" y="316"/>
                  </a:lnTo>
                  <a:lnTo>
                    <a:pt x="370" y="300"/>
                  </a:lnTo>
                  <a:lnTo>
                    <a:pt x="378" y="284"/>
                  </a:lnTo>
                  <a:lnTo>
                    <a:pt x="386" y="266"/>
                  </a:lnTo>
                  <a:lnTo>
                    <a:pt x="392" y="248"/>
                  </a:lnTo>
                  <a:lnTo>
                    <a:pt x="394" y="230"/>
                  </a:lnTo>
                  <a:lnTo>
                    <a:pt x="396" y="210"/>
                  </a:lnTo>
                  <a:lnTo>
                    <a:pt x="396" y="190"/>
                  </a:lnTo>
                  <a:lnTo>
                    <a:pt x="394" y="170"/>
                  </a:lnTo>
                  <a:lnTo>
                    <a:pt x="390" y="152"/>
                  </a:lnTo>
                  <a:lnTo>
                    <a:pt x="384" y="132"/>
                  </a:lnTo>
                  <a:lnTo>
                    <a:pt x="384" y="132"/>
                  </a:lnTo>
                  <a:close/>
                  <a:moveTo>
                    <a:pt x="372" y="198"/>
                  </a:moveTo>
                  <a:lnTo>
                    <a:pt x="372" y="198"/>
                  </a:lnTo>
                  <a:lnTo>
                    <a:pt x="368" y="214"/>
                  </a:lnTo>
                  <a:lnTo>
                    <a:pt x="360" y="232"/>
                  </a:lnTo>
                  <a:lnTo>
                    <a:pt x="360" y="232"/>
                  </a:lnTo>
                  <a:lnTo>
                    <a:pt x="352" y="216"/>
                  </a:lnTo>
                  <a:lnTo>
                    <a:pt x="344" y="202"/>
                  </a:lnTo>
                  <a:lnTo>
                    <a:pt x="334" y="188"/>
                  </a:lnTo>
                  <a:lnTo>
                    <a:pt x="322" y="174"/>
                  </a:lnTo>
                  <a:lnTo>
                    <a:pt x="322" y="174"/>
                  </a:lnTo>
                  <a:lnTo>
                    <a:pt x="332" y="156"/>
                  </a:lnTo>
                  <a:lnTo>
                    <a:pt x="338" y="138"/>
                  </a:lnTo>
                  <a:lnTo>
                    <a:pt x="342" y="120"/>
                  </a:lnTo>
                  <a:lnTo>
                    <a:pt x="344" y="102"/>
                  </a:lnTo>
                  <a:lnTo>
                    <a:pt x="344" y="102"/>
                  </a:lnTo>
                  <a:lnTo>
                    <a:pt x="354" y="12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6" y="154"/>
                  </a:lnTo>
                  <a:lnTo>
                    <a:pt x="370" y="168"/>
                  </a:lnTo>
                  <a:lnTo>
                    <a:pt x="372" y="198"/>
                  </a:lnTo>
                  <a:lnTo>
                    <a:pt x="372" y="198"/>
                  </a:lnTo>
                  <a:close/>
                  <a:moveTo>
                    <a:pt x="322" y="82"/>
                  </a:moveTo>
                  <a:lnTo>
                    <a:pt x="322" y="82"/>
                  </a:lnTo>
                  <a:lnTo>
                    <a:pt x="326" y="92"/>
                  </a:lnTo>
                  <a:lnTo>
                    <a:pt x="328" y="102"/>
                  </a:lnTo>
                  <a:lnTo>
                    <a:pt x="328" y="112"/>
                  </a:lnTo>
                  <a:lnTo>
                    <a:pt x="326" y="122"/>
                  </a:lnTo>
                  <a:lnTo>
                    <a:pt x="320" y="142"/>
                  </a:lnTo>
                  <a:lnTo>
                    <a:pt x="312" y="162"/>
                  </a:lnTo>
                  <a:lnTo>
                    <a:pt x="312" y="162"/>
                  </a:lnTo>
                  <a:lnTo>
                    <a:pt x="282" y="136"/>
                  </a:lnTo>
                  <a:lnTo>
                    <a:pt x="248" y="110"/>
                  </a:lnTo>
                  <a:lnTo>
                    <a:pt x="248" y="110"/>
                  </a:lnTo>
                  <a:lnTo>
                    <a:pt x="256" y="96"/>
                  </a:lnTo>
                  <a:lnTo>
                    <a:pt x="258" y="82"/>
                  </a:lnTo>
                  <a:lnTo>
                    <a:pt x="258" y="68"/>
                  </a:lnTo>
                  <a:lnTo>
                    <a:pt x="256" y="56"/>
                  </a:lnTo>
                  <a:lnTo>
                    <a:pt x="256" y="56"/>
                  </a:lnTo>
                  <a:lnTo>
                    <a:pt x="248" y="42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60" y="36"/>
                  </a:lnTo>
                  <a:lnTo>
                    <a:pt x="280" y="46"/>
                  </a:lnTo>
                  <a:lnTo>
                    <a:pt x="300" y="58"/>
                  </a:lnTo>
                  <a:lnTo>
                    <a:pt x="318" y="74"/>
                  </a:lnTo>
                  <a:lnTo>
                    <a:pt x="318" y="74"/>
                  </a:lnTo>
                  <a:lnTo>
                    <a:pt x="322" y="82"/>
                  </a:lnTo>
                  <a:lnTo>
                    <a:pt x="322" y="82"/>
                  </a:lnTo>
                  <a:close/>
                  <a:moveTo>
                    <a:pt x="28" y="190"/>
                  </a:moveTo>
                  <a:lnTo>
                    <a:pt x="28" y="190"/>
                  </a:lnTo>
                  <a:lnTo>
                    <a:pt x="24" y="180"/>
                  </a:lnTo>
                  <a:lnTo>
                    <a:pt x="24" y="180"/>
                  </a:lnTo>
                  <a:lnTo>
                    <a:pt x="28" y="156"/>
                  </a:lnTo>
                  <a:lnTo>
                    <a:pt x="36" y="134"/>
                  </a:lnTo>
                  <a:lnTo>
                    <a:pt x="46" y="114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110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8" y="138"/>
                  </a:lnTo>
                  <a:lnTo>
                    <a:pt x="76" y="150"/>
                  </a:lnTo>
                  <a:lnTo>
                    <a:pt x="88" y="158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92" y="20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66" y="234"/>
                  </a:lnTo>
                  <a:lnTo>
                    <a:pt x="50" y="222"/>
                  </a:lnTo>
                  <a:lnTo>
                    <a:pt x="42" y="216"/>
                  </a:lnTo>
                  <a:lnTo>
                    <a:pt x="36" y="208"/>
                  </a:lnTo>
                  <a:lnTo>
                    <a:pt x="32" y="200"/>
                  </a:lnTo>
                  <a:lnTo>
                    <a:pt x="28" y="190"/>
                  </a:lnTo>
                  <a:lnTo>
                    <a:pt x="28" y="190"/>
                  </a:lnTo>
                  <a:close/>
                  <a:moveTo>
                    <a:pt x="234" y="102"/>
                  </a:moveTo>
                  <a:lnTo>
                    <a:pt x="234" y="102"/>
                  </a:lnTo>
                  <a:lnTo>
                    <a:pt x="200" y="84"/>
                  </a:lnTo>
                  <a:lnTo>
                    <a:pt x="166" y="72"/>
                  </a:lnTo>
                  <a:lnTo>
                    <a:pt x="166" y="72"/>
                  </a:lnTo>
                  <a:lnTo>
                    <a:pt x="176" y="58"/>
                  </a:lnTo>
                  <a:lnTo>
                    <a:pt x="188" y="48"/>
                  </a:lnTo>
                  <a:lnTo>
                    <a:pt x="198" y="40"/>
                  </a:lnTo>
                  <a:lnTo>
                    <a:pt x="210" y="32"/>
                  </a:lnTo>
                  <a:lnTo>
                    <a:pt x="210" y="32"/>
                  </a:lnTo>
                  <a:lnTo>
                    <a:pt x="220" y="38"/>
                  </a:lnTo>
                  <a:lnTo>
                    <a:pt x="230" y="44"/>
                  </a:lnTo>
                  <a:lnTo>
                    <a:pt x="236" y="52"/>
                  </a:lnTo>
                  <a:lnTo>
                    <a:pt x="240" y="60"/>
                  </a:lnTo>
                  <a:lnTo>
                    <a:pt x="240" y="60"/>
                  </a:lnTo>
                  <a:lnTo>
                    <a:pt x="242" y="70"/>
                  </a:lnTo>
                  <a:lnTo>
                    <a:pt x="242" y="82"/>
                  </a:lnTo>
                  <a:lnTo>
                    <a:pt x="240" y="92"/>
                  </a:lnTo>
                  <a:lnTo>
                    <a:pt x="234" y="102"/>
                  </a:lnTo>
                  <a:lnTo>
                    <a:pt x="234" y="102"/>
                  </a:lnTo>
                  <a:close/>
                  <a:moveTo>
                    <a:pt x="180" y="28"/>
                  </a:moveTo>
                  <a:lnTo>
                    <a:pt x="180" y="28"/>
                  </a:lnTo>
                  <a:lnTo>
                    <a:pt x="186" y="28"/>
                  </a:lnTo>
                  <a:lnTo>
                    <a:pt x="186" y="28"/>
                  </a:lnTo>
                  <a:lnTo>
                    <a:pt x="170" y="42"/>
                  </a:lnTo>
                  <a:lnTo>
                    <a:pt x="156" y="58"/>
                  </a:lnTo>
                  <a:lnTo>
                    <a:pt x="146" y="34"/>
                  </a:lnTo>
                  <a:lnTo>
                    <a:pt x="146" y="34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80" y="28"/>
                  </a:lnTo>
                  <a:lnTo>
                    <a:pt x="180" y="28"/>
                  </a:lnTo>
                  <a:close/>
                  <a:moveTo>
                    <a:pt x="130" y="38"/>
                  </a:moveTo>
                  <a:lnTo>
                    <a:pt x="140" y="64"/>
                  </a:lnTo>
                  <a:lnTo>
                    <a:pt x="140" y="64"/>
                  </a:lnTo>
                  <a:lnTo>
                    <a:pt x="118" y="62"/>
                  </a:lnTo>
                  <a:lnTo>
                    <a:pt x="96" y="60"/>
                  </a:lnTo>
                  <a:lnTo>
                    <a:pt x="96" y="60"/>
                  </a:lnTo>
                  <a:lnTo>
                    <a:pt x="106" y="52"/>
                  </a:lnTo>
                  <a:lnTo>
                    <a:pt x="116" y="46"/>
                  </a:lnTo>
                  <a:lnTo>
                    <a:pt x="116" y="46"/>
                  </a:lnTo>
                  <a:lnTo>
                    <a:pt x="130" y="38"/>
                  </a:lnTo>
                  <a:lnTo>
                    <a:pt x="130" y="38"/>
                  </a:lnTo>
                  <a:close/>
                  <a:moveTo>
                    <a:pt x="82" y="80"/>
                  </a:moveTo>
                  <a:lnTo>
                    <a:pt x="82" y="80"/>
                  </a:lnTo>
                  <a:lnTo>
                    <a:pt x="94" y="78"/>
                  </a:lnTo>
                  <a:lnTo>
                    <a:pt x="108" y="76"/>
                  </a:lnTo>
                  <a:lnTo>
                    <a:pt x="124" y="78"/>
                  </a:lnTo>
                  <a:lnTo>
                    <a:pt x="140" y="80"/>
                  </a:lnTo>
                  <a:lnTo>
                    <a:pt x="140" y="80"/>
                  </a:lnTo>
                  <a:lnTo>
                    <a:pt x="122" y="114"/>
                  </a:lnTo>
                  <a:lnTo>
                    <a:pt x="108" y="148"/>
                  </a:lnTo>
                  <a:lnTo>
                    <a:pt x="108" y="148"/>
                  </a:lnTo>
                  <a:lnTo>
                    <a:pt x="96" y="144"/>
                  </a:lnTo>
                  <a:lnTo>
                    <a:pt x="88" y="138"/>
                  </a:lnTo>
                  <a:lnTo>
                    <a:pt x="80" y="130"/>
                  </a:lnTo>
                  <a:lnTo>
                    <a:pt x="76" y="120"/>
                  </a:lnTo>
                  <a:lnTo>
                    <a:pt x="76" y="120"/>
                  </a:lnTo>
                  <a:lnTo>
                    <a:pt x="74" y="110"/>
                  </a:lnTo>
                  <a:lnTo>
                    <a:pt x="74" y="100"/>
                  </a:lnTo>
                  <a:lnTo>
                    <a:pt x="76" y="90"/>
                  </a:lnTo>
                  <a:lnTo>
                    <a:pt x="82" y="80"/>
                  </a:lnTo>
                  <a:lnTo>
                    <a:pt x="82" y="80"/>
                  </a:lnTo>
                  <a:close/>
                  <a:moveTo>
                    <a:pt x="150" y="94"/>
                  </a:moveTo>
                  <a:lnTo>
                    <a:pt x="170" y="148"/>
                  </a:lnTo>
                  <a:lnTo>
                    <a:pt x="170" y="148"/>
                  </a:lnTo>
                  <a:lnTo>
                    <a:pt x="154" y="152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22" y="152"/>
                  </a:lnTo>
                  <a:lnTo>
                    <a:pt x="122" y="152"/>
                  </a:lnTo>
                  <a:lnTo>
                    <a:pt x="136" y="122"/>
                  </a:lnTo>
                  <a:lnTo>
                    <a:pt x="150" y="94"/>
                  </a:lnTo>
                  <a:lnTo>
                    <a:pt x="150" y="94"/>
                  </a:lnTo>
                  <a:close/>
                  <a:moveTo>
                    <a:pt x="166" y="88"/>
                  </a:moveTo>
                  <a:lnTo>
                    <a:pt x="166" y="88"/>
                  </a:lnTo>
                  <a:lnTo>
                    <a:pt x="196" y="100"/>
                  </a:lnTo>
                  <a:lnTo>
                    <a:pt x="226" y="116"/>
                  </a:lnTo>
                  <a:lnTo>
                    <a:pt x="226" y="116"/>
                  </a:lnTo>
                  <a:lnTo>
                    <a:pt x="218" y="124"/>
                  </a:lnTo>
                  <a:lnTo>
                    <a:pt x="208" y="132"/>
                  </a:lnTo>
                  <a:lnTo>
                    <a:pt x="198" y="138"/>
                  </a:lnTo>
                  <a:lnTo>
                    <a:pt x="186" y="144"/>
                  </a:lnTo>
                  <a:lnTo>
                    <a:pt x="166" y="88"/>
                  </a:lnTo>
                  <a:close/>
                  <a:moveTo>
                    <a:pt x="118" y="168"/>
                  </a:moveTo>
                  <a:lnTo>
                    <a:pt x="118" y="168"/>
                  </a:lnTo>
                  <a:lnTo>
                    <a:pt x="138" y="170"/>
                  </a:lnTo>
                  <a:lnTo>
                    <a:pt x="138" y="170"/>
                  </a:lnTo>
                  <a:lnTo>
                    <a:pt x="156" y="168"/>
                  </a:lnTo>
                  <a:lnTo>
                    <a:pt x="176" y="164"/>
                  </a:lnTo>
                  <a:lnTo>
                    <a:pt x="204" y="240"/>
                  </a:lnTo>
                  <a:lnTo>
                    <a:pt x="204" y="240"/>
                  </a:lnTo>
                  <a:lnTo>
                    <a:pt x="188" y="246"/>
                  </a:lnTo>
                  <a:lnTo>
                    <a:pt x="172" y="248"/>
                  </a:lnTo>
                  <a:lnTo>
                    <a:pt x="156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40" y="252"/>
                  </a:lnTo>
                  <a:lnTo>
                    <a:pt x="120" y="250"/>
                  </a:lnTo>
                  <a:lnTo>
                    <a:pt x="102" y="248"/>
                  </a:lnTo>
                  <a:lnTo>
                    <a:pt x="102" y="248"/>
                  </a:lnTo>
                  <a:lnTo>
                    <a:pt x="108" y="208"/>
                  </a:lnTo>
                  <a:lnTo>
                    <a:pt x="118" y="168"/>
                  </a:lnTo>
                  <a:lnTo>
                    <a:pt x="118" y="168"/>
                  </a:lnTo>
                  <a:close/>
                  <a:moveTo>
                    <a:pt x="192" y="158"/>
                  </a:moveTo>
                  <a:lnTo>
                    <a:pt x="192" y="158"/>
                  </a:lnTo>
                  <a:lnTo>
                    <a:pt x="206" y="152"/>
                  </a:lnTo>
                  <a:lnTo>
                    <a:pt x="218" y="144"/>
                  </a:lnTo>
                  <a:lnTo>
                    <a:pt x="230" y="134"/>
                  </a:lnTo>
                  <a:lnTo>
                    <a:pt x="240" y="124"/>
                  </a:lnTo>
                  <a:lnTo>
                    <a:pt x="240" y="124"/>
                  </a:lnTo>
                  <a:lnTo>
                    <a:pt x="272" y="148"/>
                  </a:lnTo>
                  <a:lnTo>
                    <a:pt x="302" y="176"/>
                  </a:lnTo>
                  <a:lnTo>
                    <a:pt x="302" y="176"/>
                  </a:lnTo>
                  <a:lnTo>
                    <a:pt x="286" y="194"/>
                  </a:lnTo>
                  <a:lnTo>
                    <a:pt x="266" y="210"/>
                  </a:lnTo>
                  <a:lnTo>
                    <a:pt x="244" y="224"/>
                  </a:lnTo>
                  <a:lnTo>
                    <a:pt x="220" y="236"/>
                  </a:lnTo>
                  <a:lnTo>
                    <a:pt x="192" y="158"/>
                  </a:lnTo>
                  <a:close/>
                  <a:moveTo>
                    <a:pt x="86" y="260"/>
                  </a:moveTo>
                  <a:lnTo>
                    <a:pt x="86" y="260"/>
                  </a:lnTo>
                  <a:lnTo>
                    <a:pt x="86" y="278"/>
                  </a:lnTo>
                  <a:lnTo>
                    <a:pt x="88" y="296"/>
                  </a:lnTo>
                  <a:lnTo>
                    <a:pt x="90" y="312"/>
                  </a:lnTo>
                  <a:lnTo>
                    <a:pt x="94" y="328"/>
                  </a:lnTo>
                  <a:lnTo>
                    <a:pt x="94" y="328"/>
                  </a:lnTo>
                  <a:lnTo>
                    <a:pt x="78" y="320"/>
                  </a:lnTo>
                  <a:lnTo>
                    <a:pt x="62" y="310"/>
                  </a:lnTo>
                  <a:lnTo>
                    <a:pt x="62" y="310"/>
                  </a:lnTo>
                  <a:lnTo>
                    <a:pt x="54" y="298"/>
                  </a:lnTo>
                  <a:lnTo>
                    <a:pt x="46" y="286"/>
                  </a:lnTo>
                  <a:lnTo>
                    <a:pt x="40" y="274"/>
                  </a:lnTo>
                  <a:lnTo>
                    <a:pt x="34" y="260"/>
                  </a:lnTo>
                  <a:lnTo>
                    <a:pt x="34" y="260"/>
                  </a:lnTo>
                  <a:lnTo>
                    <a:pt x="28" y="240"/>
                  </a:lnTo>
                  <a:lnTo>
                    <a:pt x="24" y="218"/>
                  </a:lnTo>
                  <a:lnTo>
                    <a:pt x="24" y="218"/>
                  </a:lnTo>
                  <a:lnTo>
                    <a:pt x="36" y="232"/>
                  </a:lnTo>
                  <a:lnTo>
                    <a:pt x="50" y="244"/>
                  </a:lnTo>
                  <a:lnTo>
                    <a:pt x="68" y="252"/>
                  </a:lnTo>
                  <a:lnTo>
                    <a:pt x="86" y="260"/>
                  </a:lnTo>
                  <a:lnTo>
                    <a:pt x="86" y="260"/>
                  </a:lnTo>
                  <a:close/>
                  <a:moveTo>
                    <a:pt x="112" y="332"/>
                  </a:moveTo>
                  <a:lnTo>
                    <a:pt x="112" y="332"/>
                  </a:lnTo>
                  <a:lnTo>
                    <a:pt x="108" y="316"/>
                  </a:lnTo>
                  <a:lnTo>
                    <a:pt x="104" y="300"/>
                  </a:lnTo>
                  <a:lnTo>
                    <a:pt x="102" y="282"/>
                  </a:lnTo>
                  <a:lnTo>
                    <a:pt x="102" y="264"/>
                  </a:lnTo>
                  <a:lnTo>
                    <a:pt x="102" y="264"/>
                  </a:lnTo>
                  <a:lnTo>
                    <a:pt x="120" y="266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40" y="268"/>
                  </a:lnTo>
                  <a:lnTo>
                    <a:pt x="156" y="266"/>
                  </a:lnTo>
                  <a:lnTo>
                    <a:pt x="174" y="264"/>
                  </a:lnTo>
                  <a:lnTo>
                    <a:pt x="192" y="260"/>
                  </a:lnTo>
                  <a:lnTo>
                    <a:pt x="210" y="256"/>
                  </a:lnTo>
                  <a:lnTo>
                    <a:pt x="236" y="326"/>
                  </a:lnTo>
                  <a:lnTo>
                    <a:pt x="236" y="326"/>
                  </a:lnTo>
                  <a:lnTo>
                    <a:pt x="204" y="334"/>
                  </a:lnTo>
                  <a:lnTo>
                    <a:pt x="172" y="338"/>
                  </a:lnTo>
                  <a:lnTo>
                    <a:pt x="142" y="338"/>
                  </a:lnTo>
                  <a:lnTo>
                    <a:pt x="112" y="334"/>
                  </a:lnTo>
                  <a:lnTo>
                    <a:pt x="112" y="334"/>
                  </a:lnTo>
                  <a:lnTo>
                    <a:pt x="112" y="332"/>
                  </a:lnTo>
                  <a:lnTo>
                    <a:pt x="112" y="332"/>
                  </a:lnTo>
                  <a:close/>
                  <a:moveTo>
                    <a:pt x="224" y="250"/>
                  </a:moveTo>
                  <a:lnTo>
                    <a:pt x="224" y="250"/>
                  </a:lnTo>
                  <a:lnTo>
                    <a:pt x="252" y="238"/>
                  </a:lnTo>
                  <a:lnTo>
                    <a:pt x="274" y="224"/>
                  </a:lnTo>
                  <a:lnTo>
                    <a:pt x="296" y="206"/>
                  </a:lnTo>
                  <a:lnTo>
                    <a:pt x="312" y="188"/>
                  </a:lnTo>
                  <a:lnTo>
                    <a:pt x="312" y="188"/>
                  </a:lnTo>
                  <a:lnTo>
                    <a:pt x="324" y="202"/>
                  </a:lnTo>
                  <a:lnTo>
                    <a:pt x="334" y="216"/>
                  </a:lnTo>
                  <a:lnTo>
                    <a:pt x="342" y="232"/>
                  </a:lnTo>
                  <a:lnTo>
                    <a:pt x="348" y="246"/>
                  </a:lnTo>
                  <a:lnTo>
                    <a:pt x="348" y="246"/>
                  </a:lnTo>
                  <a:lnTo>
                    <a:pt x="350" y="248"/>
                  </a:lnTo>
                  <a:lnTo>
                    <a:pt x="350" y="248"/>
                  </a:lnTo>
                  <a:lnTo>
                    <a:pt x="330" y="270"/>
                  </a:lnTo>
                  <a:lnTo>
                    <a:pt x="306" y="290"/>
                  </a:lnTo>
                  <a:lnTo>
                    <a:pt x="280" y="308"/>
                  </a:lnTo>
                  <a:lnTo>
                    <a:pt x="250" y="322"/>
                  </a:lnTo>
                  <a:lnTo>
                    <a:pt x="224" y="250"/>
                  </a:lnTo>
                  <a:close/>
                  <a:moveTo>
                    <a:pt x="128" y="360"/>
                  </a:moveTo>
                  <a:lnTo>
                    <a:pt x="128" y="360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40" y="354"/>
                  </a:lnTo>
                  <a:lnTo>
                    <a:pt x="160" y="356"/>
                  </a:lnTo>
                  <a:lnTo>
                    <a:pt x="160" y="356"/>
                  </a:lnTo>
                  <a:lnTo>
                    <a:pt x="180" y="354"/>
                  </a:lnTo>
                  <a:lnTo>
                    <a:pt x="200" y="352"/>
                  </a:lnTo>
                  <a:lnTo>
                    <a:pt x="220" y="348"/>
                  </a:lnTo>
                  <a:lnTo>
                    <a:pt x="242" y="342"/>
                  </a:lnTo>
                  <a:lnTo>
                    <a:pt x="250" y="366"/>
                  </a:lnTo>
                  <a:lnTo>
                    <a:pt x="250" y="366"/>
                  </a:lnTo>
                  <a:lnTo>
                    <a:pt x="224" y="372"/>
                  </a:lnTo>
                  <a:lnTo>
                    <a:pt x="198" y="376"/>
                  </a:lnTo>
                  <a:lnTo>
                    <a:pt x="198" y="376"/>
                  </a:lnTo>
                  <a:lnTo>
                    <a:pt x="180" y="374"/>
                  </a:lnTo>
                  <a:lnTo>
                    <a:pt x="162" y="372"/>
                  </a:lnTo>
                  <a:lnTo>
                    <a:pt x="144" y="366"/>
                  </a:lnTo>
                  <a:lnTo>
                    <a:pt x="128" y="360"/>
                  </a:lnTo>
                  <a:lnTo>
                    <a:pt x="128" y="360"/>
                  </a:lnTo>
                  <a:close/>
                  <a:moveTo>
                    <a:pt x="266" y="362"/>
                  </a:moveTo>
                  <a:lnTo>
                    <a:pt x="256" y="336"/>
                  </a:lnTo>
                  <a:lnTo>
                    <a:pt x="256" y="336"/>
                  </a:lnTo>
                  <a:lnTo>
                    <a:pt x="284" y="322"/>
                  </a:lnTo>
                  <a:lnTo>
                    <a:pt x="310" y="306"/>
                  </a:lnTo>
                  <a:lnTo>
                    <a:pt x="334" y="288"/>
                  </a:lnTo>
                  <a:lnTo>
                    <a:pt x="354" y="268"/>
                  </a:lnTo>
                  <a:lnTo>
                    <a:pt x="354" y="268"/>
                  </a:lnTo>
                  <a:lnTo>
                    <a:pt x="354" y="278"/>
                  </a:lnTo>
                  <a:lnTo>
                    <a:pt x="354" y="278"/>
                  </a:lnTo>
                  <a:lnTo>
                    <a:pt x="348" y="292"/>
                  </a:lnTo>
                  <a:lnTo>
                    <a:pt x="338" y="304"/>
                  </a:lnTo>
                  <a:lnTo>
                    <a:pt x="328" y="316"/>
                  </a:lnTo>
                  <a:lnTo>
                    <a:pt x="318" y="328"/>
                  </a:lnTo>
                  <a:lnTo>
                    <a:pt x="306" y="338"/>
                  </a:lnTo>
                  <a:lnTo>
                    <a:pt x="294" y="346"/>
                  </a:lnTo>
                  <a:lnTo>
                    <a:pt x="280" y="354"/>
                  </a:lnTo>
                  <a:lnTo>
                    <a:pt x="266" y="362"/>
                  </a:lnTo>
                  <a:lnTo>
                    <a:pt x="266" y="362"/>
                  </a:lnTo>
                  <a:close/>
                </a:path>
              </a:pathLst>
            </a:custGeom>
            <a:solidFill>
              <a:srgbClr val="DEEC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18067D96-4438-404E-B188-A87E56406CDE}"/>
              </a:ext>
            </a:extLst>
          </p:cNvPr>
          <p:cNvSpPr txBox="1"/>
          <p:nvPr/>
        </p:nvSpPr>
        <p:spPr bwMode="auto">
          <a:xfrm>
            <a:off x="1745828" y="4306982"/>
            <a:ext cx="1285507" cy="57600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540000" tIns="54000" rIns="54000" bIns="54000" numCol="1" anchor="ctr"/>
          <a:lstStyle>
            <a:defPPr>
              <a:defRPr lang="el-GR"/>
            </a:defPPr>
            <a:lvl1pPr indent="0" eaLnBrk="0" fontAlgn="base" hangingPunct="0">
              <a:spcBef>
                <a:spcPts val="0"/>
              </a:spcBef>
              <a:buClrTx/>
              <a:buFont typeface="Arial" panose="020B0604020202020204" pitchFamily="34" charset="0"/>
              <a:buNone/>
              <a:defRPr sz="1200" b="0" i="0" kern="0">
                <a:ea typeface="Geneva" charset="0"/>
                <a:cs typeface="Times New Roman" panose="02020603050405020304" pitchFamily="18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r>
              <a:rPr lang="en-US" dirty="0"/>
              <a:t>Yachting</a:t>
            </a:r>
            <a:endParaRPr lang="el-GR" dirty="0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C61F92D6-7385-4831-AFFA-9CB3E2D8EC91}"/>
              </a:ext>
            </a:extLst>
          </p:cNvPr>
          <p:cNvGrpSpPr/>
          <p:nvPr/>
        </p:nvGrpSpPr>
        <p:grpSpPr>
          <a:xfrm>
            <a:off x="1806216" y="4356677"/>
            <a:ext cx="360000" cy="360000"/>
            <a:chOff x="5017261" y="6012879"/>
            <a:chExt cx="612775" cy="612775"/>
          </a:xfrm>
        </p:grpSpPr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E2C360D9-A00C-4813-B42F-A56B9687E3B4}"/>
                </a:ext>
              </a:extLst>
            </p:cNvPr>
            <p:cNvSpPr/>
            <p:nvPr/>
          </p:nvSpPr>
          <p:spPr bwMode="ltGray">
            <a:xfrm>
              <a:off x="5017261" y="6012879"/>
              <a:ext cx="612775" cy="612775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91" name="Group 230">
              <a:extLst>
                <a:ext uri="{FF2B5EF4-FFF2-40B4-BE49-F238E27FC236}">
                  <a16:creationId xmlns:a16="http://schemas.microsoft.com/office/drawing/2014/main" id="{4DDB93E3-526C-4D32-8DB6-4441D7D66E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126531" y="6075957"/>
              <a:ext cx="415307" cy="437165"/>
              <a:chOff x="3918" y="2385"/>
              <a:chExt cx="454" cy="478"/>
            </a:xfrm>
          </p:grpSpPr>
          <p:sp>
            <p:nvSpPr>
              <p:cNvPr id="92" name="AutoShape 231">
                <a:extLst>
                  <a:ext uri="{FF2B5EF4-FFF2-40B4-BE49-F238E27FC236}">
                    <a16:creationId xmlns:a16="http://schemas.microsoft.com/office/drawing/2014/main" id="{CCED1149-9BE0-4372-B7F9-81EDBC5F24B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150" y="2385"/>
                <a:ext cx="214" cy="340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dirty="0"/>
              </a:p>
            </p:txBody>
          </p:sp>
          <p:sp>
            <p:nvSpPr>
              <p:cNvPr id="93" name="AutoShape 232">
                <a:extLst>
                  <a:ext uri="{FF2B5EF4-FFF2-40B4-BE49-F238E27FC236}">
                    <a16:creationId xmlns:a16="http://schemas.microsoft.com/office/drawing/2014/main" id="{7A92A7F0-B4A3-4773-85BA-D75D6A89463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3923" y="2441"/>
                <a:ext cx="205" cy="284"/>
              </a:xfrm>
              <a:prstGeom prst="rtTriangle">
                <a:avLst/>
              </a:pr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94" name="AutoShape 233">
                <a:extLst>
                  <a:ext uri="{FF2B5EF4-FFF2-40B4-BE49-F238E27FC236}">
                    <a16:creationId xmlns:a16="http://schemas.microsoft.com/office/drawing/2014/main" id="{521102F2-2246-4985-8CDE-2224AAC6C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10800000">
                <a:off x="3918" y="2657"/>
                <a:ext cx="454" cy="20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1600"/>
                  <a:gd name="T13" fmla="*/ 0 h 21600"/>
                  <a:gd name="T14" fmla="*/ 21600 w 21600"/>
                  <a:gd name="T15" fmla="*/ 7759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10425" y="10800"/>
                    </a:moveTo>
                    <a:cubicBezTo>
                      <a:pt x="10425" y="10592"/>
                      <a:pt x="10592" y="10425"/>
                      <a:pt x="10800" y="10425"/>
                    </a:cubicBezTo>
                    <a:cubicBezTo>
                      <a:pt x="11007" y="10424"/>
                      <a:pt x="11174" y="10592"/>
                      <a:pt x="11175" y="10799"/>
                    </a:cubicBezTo>
                    <a:lnTo>
                      <a:pt x="21600" y="10800"/>
                    </a:lnTo>
                    <a:cubicBezTo>
                      <a:pt x="21600" y="4835"/>
                      <a:pt x="16764" y="0"/>
                      <a:pt x="10800" y="0"/>
                    </a:cubicBezTo>
                    <a:cubicBezTo>
                      <a:pt x="4835" y="0"/>
                      <a:pt x="0" y="4835"/>
                      <a:pt x="0" y="10800"/>
                    </a:cubicBezTo>
                    <a:close/>
                  </a:path>
                </a:pathLst>
              </a:custGeom>
              <a:solidFill>
                <a:srgbClr val="DEECE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dirty="0"/>
              </a:p>
            </p:txBody>
          </p:sp>
        </p:grpSp>
      </p:grpSp>
      <p:sp>
        <p:nvSpPr>
          <p:cNvPr id="99" name="TextBox 98">
            <a:extLst>
              <a:ext uri="{FF2B5EF4-FFF2-40B4-BE49-F238E27FC236}">
                <a16:creationId xmlns:a16="http://schemas.microsoft.com/office/drawing/2014/main" id="{DA1B52E0-CCCA-4EEB-8C29-15463259760F}"/>
              </a:ext>
            </a:extLst>
          </p:cNvPr>
          <p:cNvSpPr txBox="1"/>
          <p:nvPr/>
        </p:nvSpPr>
        <p:spPr bwMode="auto">
          <a:xfrm>
            <a:off x="637307" y="3173419"/>
            <a:ext cx="946306" cy="688838"/>
          </a:xfrm>
          <a:prstGeom prst="rect">
            <a:avLst/>
          </a:prstGeom>
          <a:solidFill>
            <a:srgbClr val="013476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   25 Μαΐου </a:t>
            </a:r>
            <a:endParaRPr lang="el-GR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0" name="Connector: Elbow 99">
            <a:extLst>
              <a:ext uri="{FF2B5EF4-FFF2-40B4-BE49-F238E27FC236}">
                <a16:creationId xmlns:a16="http://schemas.microsoft.com/office/drawing/2014/main" id="{08E9C4DB-9F28-4E88-8AC3-9293BB753AED}"/>
              </a:ext>
            </a:extLst>
          </p:cNvPr>
          <p:cNvCxnSpPr>
            <a:cxnSpLocks/>
            <a:stCxn id="88" idx="1"/>
            <a:endCxn id="99" idx="3"/>
          </p:cNvCxnSpPr>
          <p:nvPr/>
        </p:nvCxnSpPr>
        <p:spPr>
          <a:xfrm rot="10800000">
            <a:off x="1583614" y="3517838"/>
            <a:ext cx="162215" cy="107714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Slide Number Placeholder 3">
            <a:extLst>
              <a:ext uri="{FF2B5EF4-FFF2-40B4-BE49-F238E27FC236}">
                <a16:creationId xmlns:a16="http://schemas.microsoft.com/office/drawing/2014/main" id="{72AAA626-66C3-47E9-BF3E-1F9419DF63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5</a:t>
            </a:fld>
            <a:endParaRPr lang="en-US" sz="1400" dirty="0">
              <a:latin typeface="+mn-lt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B207CA-CFB7-4F60-8896-B29D6398507A}"/>
              </a:ext>
            </a:extLst>
          </p:cNvPr>
          <p:cNvSpPr/>
          <p:nvPr/>
        </p:nvSpPr>
        <p:spPr>
          <a:xfrm>
            <a:off x="913666" y="6120964"/>
            <a:ext cx="50291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1200" kern="0" dirty="0">
                <a:cs typeface="Times New Roman" panose="02020603050405020304" pitchFamily="18" charset="0"/>
              </a:rPr>
              <a:t>(*) Λίστα χωρών θα προσδιοριστεί με βάση το επιδημιολογικό τους προφίλ έως την 1</a:t>
            </a:r>
            <a:r>
              <a:rPr lang="el-GR" sz="1200" kern="0" baseline="30000" dirty="0">
                <a:cs typeface="Times New Roman" panose="02020603050405020304" pitchFamily="18" charset="0"/>
              </a:rPr>
              <a:t>η</a:t>
            </a:r>
            <a:r>
              <a:rPr lang="el-GR" sz="1200" kern="0" dirty="0">
                <a:cs typeface="Times New Roman" panose="02020603050405020304" pitchFamily="18" charset="0"/>
              </a:rPr>
              <a:t> Ιουνίου. Οι επισκέπτες θα υπόκεινται σε δειγματοληπτικούς ελέγχους χωρίς υποχρεωτικό </a:t>
            </a:r>
            <a:r>
              <a:rPr lang="en-US" sz="1200" kern="0" dirty="0">
                <a:cs typeface="Times New Roman" panose="02020603050405020304" pitchFamily="18" charset="0"/>
              </a:rPr>
              <a:t>test. </a:t>
            </a:r>
            <a:endParaRPr lang="el-GR" sz="1200" kern="0" dirty="0"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6928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456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88" name="Rectangle: Diagonal Corners Snipped 87">
            <a:extLst>
              <a:ext uri="{FF2B5EF4-FFF2-40B4-BE49-F238E27FC236}">
                <a16:creationId xmlns:a16="http://schemas.microsoft.com/office/drawing/2014/main" id="{67750033-03E1-47EB-BE4F-7FAF65D18BCD}"/>
              </a:ext>
            </a:extLst>
          </p:cNvPr>
          <p:cNvSpPr/>
          <p:nvPr/>
        </p:nvSpPr>
        <p:spPr>
          <a:xfrm>
            <a:off x="661027" y="1926425"/>
            <a:ext cx="4936435" cy="4505658"/>
          </a:xfrm>
          <a:prstGeom prst="snip2DiagRect">
            <a:avLst/>
          </a:prstGeom>
          <a:solidFill>
            <a:srgbClr val="9CC7CE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solidFill>
                <a:prstClr val="black"/>
              </a:solidFill>
              <a:cs typeface="Arial"/>
              <a:sym typeface="Georgia"/>
            </a:endParaRPr>
          </a:p>
        </p:txBody>
      </p:sp>
      <p:sp>
        <p:nvSpPr>
          <p:cNvPr id="89" name="Rectangle: Diagonal Corners Snipped 88">
            <a:extLst>
              <a:ext uri="{FF2B5EF4-FFF2-40B4-BE49-F238E27FC236}">
                <a16:creationId xmlns:a16="http://schemas.microsoft.com/office/drawing/2014/main" id="{2805D916-D166-4312-937A-8E176E313C71}"/>
              </a:ext>
            </a:extLst>
          </p:cNvPr>
          <p:cNvSpPr/>
          <p:nvPr/>
        </p:nvSpPr>
        <p:spPr>
          <a:xfrm>
            <a:off x="6225207" y="1958153"/>
            <a:ext cx="5105402" cy="4505658"/>
          </a:xfrm>
          <a:prstGeom prst="snip2DiagRect">
            <a:avLst/>
          </a:prstGeom>
          <a:solidFill>
            <a:srgbClr val="DEECEF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endParaRPr lang="el-GR" dirty="0">
              <a:cs typeface="Arial"/>
              <a:sym typeface="Georgia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DD8FDAFB-F34E-49FF-AAEF-FC020B65F034}"/>
              </a:ext>
            </a:extLst>
          </p:cNvPr>
          <p:cNvSpPr/>
          <p:nvPr/>
        </p:nvSpPr>
        <p:spPr>
          <a:xfrm>
            <a:off x="917229" y="3518836"/>
            <a:ext cx="4424029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ξασφάλιση πραγματοποίησης ελέγχων</a:t>
            </a:r>
            <a:endParaRPr lang="el-GR" dirty="0"/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/>
              <a:t>Ορισμός </a:t>
            </a:r>
            <a:r>
              <a:rPr lang="el-GR" b="1" dirty="0"/>
              <a:t>συνεργαζόμενου γιατρού </a:t>
            </a:r>
            <a:r>
              <a:rPr lang="el-GR" dirty="0"/>
              <a:t>με κάθε  κατάλυμα ως το πρώτο σημείο αξιολόγησης κρούσματος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Ορισμός συντονιστή </a:t>
            </a:r>
            <a:r>
              <a:rPr lang="el-GR" dirty="0"/>
              <a:t>από το κατάλυμα για την διαχείριση περιπτώσεων κρουσμάτων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1FE2D7DB-32EE-472C-B3C1-07F7A7EDA3EA}"/>
              </a:ext>
            </a:extLst>
          </p:cNvPr>
          <p:cNvSpPr/>
          <p:nvPr/>
        </p:nvSpPr>
        <p:spPr>
          <a:xfrm>
            <a:off x="6387173" y="3546141"/>
            <a:ext cx="4714835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Γιατρός καταλύματος </a:t>
            </a:r>
            <a:r>
              <a:rPr lang="el-GR" dirty="0"/>
              <a:t>που επιλαμβάνεται σε πρώτο χρόνο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Ειδικοί «χώροι καραντίνας»</a:t>
            </a:r>
            <a:r>
              <a:rPr lang="el-GR" dirty="0"/>
              <a:t> ανά περιφέρεια/ νησί</a:t>
            </a:r>
          </a:p>
          <a:p>
            <a:pPr marL="285750" indent="-28575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b="1" dirty="0"/>
              <a:t>Μεταφορά σε δομή υγείας</a:t>
            </a:r>
            <a:r>
              <a:rPr lang="el-GR" dirty="0"/>
              <a:t> (αν αυτό κριθεί απαραίτητο)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223DDC1-743B-4010-847C-51FE7E584286}"/>
              </a:ext>
            </a:extLst>
          </p:cNvPr>
          <p:cNvSpPr/>
          <p:nvPr/>
        </p:nvSpPr>
        <p:spPr>
          <a:xfrm>
            <a:off x="1810324" y="2139569"/>
            <a:ext cx="306979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/>
              <a:t>Ενίσχυση υγειονομικής ικανότητας προορισμών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450513BF-4AC7-445F-816F-26A8424E771C}"/>
              </a:ext>
            </a:extLst>
          </p:cNvPr>
          <p:cNvSpPr/>
          <p:nvPr/>
        </p:nvSpPr>
        <p:spPr>
          <a:xfrm>
            <a:off x="7841972" y="2166875"/>
            <a:ext cx="285372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Επιχειρησιακή διαχείριση κρούσματος </a:t>
            </a:r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E4F242A7-FF4D-4A8D-B08E-899BB2F8FCA3}"/>
              </a:ext>
            </a:extLst>
          </p:cNvPr>
          <p:cNvGrpSpPr/>
          <p:nvPr/>
        </p:nvGrpSpPr>
        <p:grpSpPr>
          <a:xfrm>
            <a:off x="1075987" y="2111569"/>
            <a:ext cx="612000" cy="612000"/>
            <a:chOff x="4966372" y="2258092"/>
            <a:chExt cx="612000" cy="612000"/>
          </a:xfrm>
        </p:grpSpPr>
        <p:sp>
          <p:nvSpPr>
            <p:cNvPr id="95" name="Oval 94">
              <a:extLst>
                <a:ext uri="{FF2B5EF4-FFF2-40B4-BE49-F238E27FC236}">
                  <a16:creationId xmlns:a16="http://schemas.microsoft.com/office/drawing/2014/main" id="{902EA394-561C-41B3-B664-8C82E21083F1}"/>
                </a:ext>
              </a:extLst>
            </p:cNvPr>
            <p:cNvSpPr/>
            <p:nvPr/>
          </p:nvSpPr>
          <p:spPr bwMode="ltGray">
            <a:xfrm>
              <a:off x="4966372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6" name="Freeform 4808">
              <a:extLst>
                <a:ext uri="{FF2B5EF4-FFF2-40B4-BE49-F238E27FC236}">
                  <a16:creationId xmlns:a16="http://schemas.microsoft.com/office/drawing/2014/main" id="{13D8BE2F-1A3C-4B33-B571-4307D011560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39993" y="2312827"/>
              <a:ext cx="264759" cy="500101"/>
            </a:xfrm>
            <a:custGeom>
              <a:avLst/>
              <a:gdLst>
                <a:gd name="T0" fmla="*/ 48 w 216"/>
                <a:gd name="T1" fmla="*/ 16 h 408"/>
                <a:gd name="T2" fmla="*/ 56 w 216"/>
                <a:gd name="T3" fmla="*/ 0 h 408"/>
                <a:gd name="T4" fmla="*/ 72 w 216"/>
                <a:gd name="T5" fmla="*/ 12 h 408"/>
                <a:gd name="T6" fmla="*/ 60 w 216"/>
                <a:gd name="T7" fmla="*/ 24 h 408"/>
                <a:gd name="T8" fmla="*/ 198 w 216"/>
                <a:gd name="T9" fmla="*/ 36 h 408"/>
                <a:gd name="T10" fmla="*/ 182 w 216"/>
                <a:gd name="T11" fmla="*/ 24 h 408"/>
                <a:gd name="T12" fmla="*/ 174 w 216"/>
                <a:gd name="T13" fmla="*/ 40 h 408"/>
                <a:gd name="T14" fmla="*/ 190 w 216"/>
                <a:gd name="T15" fmla="*/ 46 h 408"/>
                <a:gd name="T16" fmla="*/ 164 w 216"/>
                <a:gd name="T17" fmla="*/ 58 h 408"/>
                <a:gd name="T18" fmla="*/ 152 w 216"/>
                <a:gd name="T19" fmla="*/ 46 h 408"/>
                <a:gd name="T20" fmla="*/ 140 w 216"/>
                <a:gd name="T21" fmla="*/ 58 h 408"/>
                <a:gd name="T22" fmla="*/ 152 w 216"/>
                <a:gd name="T23" fmla="*/ 70 h 408"/>
                <a:gd name="T24" fmla="*/ 110 w 216"/>
                <a:gd name="T25" fmla="*/ 102 h 408"/>
                <a:gd name="T26" fmla="*/ 102 w 216"/>
                <a:gd name="T27" fmla="*/ 86 h 408"/>
                <a:gd name="T28" fmla="*/ 86 w 216"/>
                <a:gd name="T29" fmla="*/ 96 h 408"/>
                <a:gd name="T30" fmla="*/ 98 w 216"/>
                <a:gd name="T31" fmla="*/ 108 h 408"/>
                <a:gd name="T32" fmla="*/ 128 w 216"/>
                <a:gd name="T33" fmla="*/ 352 h 408"/>
                <a:gd name="T34" fmla="*/ 128 w 216"/>
                <a:gd name="T35" fmla="*/ 322 h 408"/>
                <a:gd name="T36" fmla="*/ 96 w 216"/>
                <a:gd name="T37" fmla="*/ 330 h 408"/>
                <a:gd name="T38" fmla="*/ 108 w 216"/>
                <a:gd name="T39" fmla="*/ 356 h 408"/>
                <a:gd name="T40" fmla="*/ 122 w 216"/>
                <a:gd name="T41" fmla="*/ 44 h 408"/>
                <a:gd name="T42" fmla="*/ 122 w 216"/>
                <a:gd name="T43" fmla="*/ 16 h 408"/>
                <a:gd name="T44" fmla="*/ 94 w 216"/>
                <a:gd name="T45" fmla="*/ 16 h 408"/>
                <a:gd name="T46" fmla="*/ 94 w 216"/>
                <a:gd name="T47" fmla="*/ 44 h 408"/>
                <a:gd name="T48" fmla="*/ 122 w 216"/>
                <a:gd name="T49" fmla="*/ 44 h 408"/>
                <a:gd name="T50" fmla="*/ 60 w 216"/>
                <a:gd name="T51" fmla="*/ 56 h 408"/>
                <a:gd name="T52" fmla="*/ 34 w 216"/>
                <a:gd name="T53" fmla="*/ 52 h 408"/>
                <a:gd name="T54" fmla="*/ 34 w 216"/>
                <a:gd name="T55" fmla="*/ 74 h 408"/>
                <a:gd name="T56" fmla="*/ 56 w 216"/>
                <a:gd name="T57" fmla="*/ 74 h 408"/>
                <a:gd name="T58" fmla="*/ 182 w 216"/>
                <a:gd name="T59" fmla="*/ 406 h 408"/>
                <a:gd name="T60" fmla="*/ 16 w 216"/>
                <a:gd name="T61" fmla="*/ 394 h 408"/>
                <a:gd name="T62" fmla="*/ 4 w 216"/>
                <a:gd name="T63" fmla="*/ 338 h 408"/>
                <a:gd name="T64" fmla="*/ 64 w 216"/>
                <a:gd name="T65" fmla="*/ 132 h 408"/>
                <a:gd name="T66" fmla="*/ 68 w 216"/>
                <a:gd name="T67" fmla="*/ 116 h 408"/>
                <a:gd name="T68" fmla="*/ 148 w 216"/>
                <a:gd name="T69" fmla="*/ 116 h 408"/>
                <a:gd name="T70" fmla="*/ 152 w 216"/>
                <a:gd name="T71" fmla="*/ 132 h 408"/>
                <a:gd name="T72" fmla="*/ 212 w 216"/>
                <a:gd name="T73" fmla="*/ 336 h 408"/>
                <a:gd name="T74" fmla="*/ 102 w 216"/>
                <a:gd name="T75" fmla="*/ 158 h 408"/>
                <a:gd name="T76" fmla="*/ 114 w 216"/>
                <a:gd name="T77" fmla="*/ 170 h 408"/>
                <a:gd name="T78" fmla="*/ 126 w 216"/>
                <a:gd name="T79" fmla="*/ 158 h 408"/>
                <a:gd name="T80" fmla="*/ 114 w 216"/>
                <a:gd name="T81" fmla="*/ 146 h 408"/>
                <a:gd name="T82" fmla="*/ 102 w 216"/>
                <a:gd name="T83" fmla="*/ 158 h 408"/>
                <a:gd name="T84" fmla="*/ 80 w 216"/>
                <a:gd name="T85" fmla="*/ 280 h 408"/>
                <a:gd name="T86" fmla="*/ 106 w 216"/>
                <a:gd name="T87" fmla="*/ 268 h 408"/>
                <a:gd name="T88" fmla="*/ 94 w 216"/>
                <a:gd name="T89" fmla="*/ 242 h 408"/>
                <a:gd name="T90" fmla="*/ 66 w 216"/>
                <a:gd name="T91" fmla="*/ 262 h 408"/>
                <a:gd name="T92" fmla="*/ 136 w 216"/>
                <a:gd name="T93" fmla="*/ 308 h 408"/>
                <a:gd name="T94" fmla="*/ 140 w 216"/>
                <a:gd name="T95" fmla="*/ 298 h 408"/>
                <a:gd name="T96" fmla="*/ 124 w 216"/>
                <a:gd name="T97" fmla="*/ 288 h 408"/>
                <a:gd name="T98" fmla="*/ 116 w 216"/>
                <a:gd name="T99" fmla="*/ 302 h 408"/>
                <a:gd name="T100" fmla="*/ 82 w 216"/>
                <a:gd name="T101" fmla="*/ 298 h 408"/>
                <a:gd name="T102" fmla="*/ 18 w 216"/>
                <a:gd name="T103" fmla="*/ 352 h 408"/>
                <a:gd name="T104" fmla="*/ 32 w 216"/>
                <a:gd name="T105" fmla="*/ 386 h 408"/>
                <a:gd name="T106" fmla="*/ 184 w 216"/>
                <a:gd name="T107" fmla="*/ 386 h 408"/>
                <a:gd name="T108" fmla="*/ 198 w 216"/>
                <a:gd name="T109" fmla="*/ 352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6" h="408">
                  <a:moveTo>
                    <a:pt x="60" y="24"/>
                  </a:moveTo>
                  <a:lnTo>
                    <a:pt x="60" y="24"/>
                  </a:lnTo>
                  <a:lnTo>
                    <a:pt x="56" y="22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16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6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8" y="2"/>
                  </a:lnTo>
                  <a:lnTo>
                    <a:pt x="68" y="2"/>
                  </a:lnTo>
                  <a:lnTo>
                    <a:pt x="72" y="6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2"/>
                  </a:lnTo>
                  <a:lnTo>
                    <a:pt x="60" y="24"/>
                  </a:lnTo>
                  <a:lnTo>
                    <a:pt x="60" y="24"/>
                  </a:lnTo>
                  <a:close/>
                  <a:moveTo>
                    <a:pt x="194" y="44"/>
                  </a:moveTo>
                  <a:lnTo>
                    <a:pt x="194" y="44"/>
                  </a:lnTo>
                  <a:lnTo>
                    <a:pt x="196" y="40"/>
                  </a:lnTo>
                  <a:lnTo>
                    <a:pt x="198" y="36"/>
                  </a:lnTo>
                  <a:lnTo>
                    <a:pt x="198" y="36"/>
                  </a:lnTo>
                  <a:lnTo>
                    <a:pt x="196" y="32"/>
                  </a:lnTo>
                  <a:lnTo>
                    <a:pt x="194" y="28"/>
                  </a:lnTo>
                  <a:lnTo>
                    <a:pt x="194" y="28"/>
                  </a:lnTo>
                  <a:lnTo>
                    <a:pt x="190" y="24"/>
                  </a:lnTo>
                  <a:lnTo>
                    <a:pt x="186" y="24"/>
                  </a:lnTo>
                  <a:lnTo>
                    <a:pt x="182" y="24"/>
                  </a:lnTo>
                  <a:lnTo>
                    <a:pt x="178" y="28"/>
                  </a:lnTo>
                  <a:lnTo>
                    <a:pt x="178" y="28"/>
                  </a:lnTo>
                  <a:lnTo>
                    <a:pt x="174" y="32"/>
                  </a:lnTo>
                  <a:lnTo>
                    <a:pt x="174" y="36"/>
                  </a:lnTo>
                  <a:lnTo>
                    <a:pt x="174" y="36"/>
                  </a:lnTo>
                  <a:lnTo>
                    <a:pt x="174" y="40"/>
                  </a:lnTo>
                  <a:lnTo>
                    <a:pt x="178" y="44"/>
                  </a:lnTo>
                  <a:lnTo>
                    <a:pt x="178" y="44"/>
                  </a:lnTo>
                  <a:lnTo>
                    <a:pt x="182" y="46"/>
                  </a:lnTo>
                  <a:lnTo>
                    <a:pt x="186" y="48"/>
                  </a:lnTo>
                  <a:lnTo>
                    <a:pt x="186" y="48"/>
                  </a:lnTo>
                  <a:lnTo>
                    <a:pt x="190" y="46"/>
                  </a:lnTo>
                  <a:lnTo>
                    <a:pt x="194" y="44"/>
                  </a:lnTo>
                  <a:lnTo>
                    <a:pt x="194" y="44"/>
                  </a:lnTo>
                  <a:close/>
                  <a:moveTo>
                    <a:pt x="160" y="66"/>
                  </a:moveTo>
                  <a:lnTo>
                    <a:pt x="160" y="66"/>
                  </a:lnTo>
                  <a:lnTo>
                    <a:pt x="162" y="62"/>
                  </a:lnTo>
                  <a:lnTo>
                    <a:pt x="164" y="58"/>
                  </a:lnTo>
                  <a:lnTo>
                    <a:pt x="164" y="58"/>
                  </a:lnTo>
                  <a:lnTo>
                    <a:pt x="162" y="54"/>
                  </a:lnTo>
                  <a:lnTo>
                    <a:pt x="160" y="50"/>
                  </a:lnTo>
                  <a:lnTo>
                    <a:pt x="160" y="50"/>
                  </a:lnTo>
                  <a:lnTo>
                    <a:pt x="156" y="46"/>
                  </a:lnTo>
                  <a:lnTo>
                    <a:pt x="152" y="46"/>
                  </a:lnTo>
                  <a:lnTo>
                    <a:pt x="146" y="46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0" y="54"/>
                  </a:lnTo>
                  <a:lnTo>
                    <a:pt x="140" y="58"/>
                  </a:lnTo>
                  <a:lnTo>
                    <a:pt x="140" y="58"/>
                  </a:lnTo>
                  <a:lnTo>
                    <a:pt x="140" y="62"/>
                  </a:lnTo>
                  <a:lnTo>
                    <a:pt x="142" y="66"/>
                  </a:lnTo>
                  <a:lnTo>
                    <a:pt x="142" y="66"/>
                  </a:lnTo>
                  <a:lnTo>
                    <a:pt x="146" y="68"/>
                  </a:lnTo>
                  <a:lnTo>
                    <a:pt x="152" y="70"/>
                  </a:lnTo>
                  <a:lnTo>
                    <a:pt x="152" y="70"/>
                  </a:lnTo>
                  <a:lnTo>
                    <a:pt x="156" y="68"/>
                  </a:lnTo>
                  <a:lnTo>
                    <a:pt x="160" y="66"/>
                  </a:lnTo>
                  <a:lnTo>
                    <a:pt x="160" y="66"/>
                  </a:lnTo>
                  <a:close/>
                  <a:moveTo>
                    <a:pt x="106" y="104"/>
                  </a:moveTo>
                  <a:lnTo>
                    <a:pt x="106" y="104"/>
                  </a:lnTo>
                  <a:lnTo>
                    <a:pt x="110" y="102"/>
                  </a:lnTo>
                  <a:lnTo>
                    <a:pt x="110" y="96"/>
                  </a:lnTo>
                  <a:lnTo>
                    <a:pt x="110" y="96"/>
                  </a:lnTo>
                  <a:lnTo>
                    <a:pt x="110" y="92"/>
                  </a:lnTo>
                  <a:lnTo>
                    <a:pt x="106" y="88"/>
                  </a:lnTo>
                  <a:lnTo>
                    <a:pt x="106" y="88"/>
                  </a:lnTo>
                  <a:lnTo>
                    <a:pt x="102" y="86"/>
                  </a:lnTo>
                  <a:lnTo>
                    <a:pt x="98" y="84"/>
                  </a:lnTo>
                  <a:lnTo>
                    <a:pt x="94" y="86"/>
                  </a:lnTo>
                  <a:lnTo>
                    <a:pt x="90" y="88"/>
                  </a:lnTo>
                  <a:lnTo>
                    <a:pt x="90" y="88"/>
                  </a:lnTo>
                  <a:lnTo>
                    <a:pt x="88" y="92"/>
                  </a:lnTo>
                  <a:lnTo>
                    <a:pt x="86" y="96"/>
                  </a:lnTo>
                  <a:lnTo>
                    <a:pt x="86" y="96"/>
                  </a:lnTo>
                  <a:lnTo>
                    <a:pt x="88" y="102"/>
                  </a:lnTo>
                  <a:lnTo>
                    <a:pt x="90" y="104"/>
                  </a:lnTo>
                  <a:lnTo>
                    <a:pt x="90" y="104"/>
                  </a:lnTo>
                  <a:lnTo>
                    <a:pt x="94" y="108"/>
                  </a:lnTo>
                  <a:lnTo>
                    <a:pt x="98" y="108"/>
                  </a:lnTo>
                  <a:lnTo>
                    <a:pt x="98" y="108"/>
                  </a:lnTo>
                  <a:lnTo>
                    <a:pt x="102" y="108"/>
                  </a:lnTo>
                  <a:lnTo>
                    <a:pt x="106" y="104"/>
                  </a:lnTo>
                  <a:lnTo>
                    <a:pt x="106" y="104"/>
                  </a:lnTo>
                  <a:close/>
                  <a:moveTo>
                    <a:pt x="128" y="352"/>
                  </a:moveTo>
                  <a:lnTo>
                    <a:pt x="128" y="352"/>
                  </a:lnTo>
                  <a:lnTo>
                    <a:pt x="134" y="344"/>
                  </a:lnTo>
                  <a:lnTo>
                    <a:pt x="134" y="336"/>
                  </a:lnTo>
                  <a:lnTo>
                    <a:pt x="134" y="336"/>
                  </a:lnTo>
                  <a:lnTo>
                    <a:pt x="134" y="33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2" y="318"/>
                  </a:lnTo>
                  <a:lnTo>
                    <a:pt x="114" y="318"/>
                  </a:lnTo>
                  <a:lnTo>
                    <a:pt x="108" y="318"/>
                  </a:lnTo>
                  <a:lnTo>
                    <a:pt x="100" y="322"/>
                  </a:lnTo>
                  <a:lnTo>
                    <a:pt x="100" y="322"/>
                  </a:lnTo>
                  <a:lnTo>
                    <a:pt x="96" y="330"/>
                  </a:lnTo>
                  <a:lnTo>
                    <a:pt x="94" y="336"/>
                  </a:lnTo>
                  <a:lnTo>
                    <a:pt x="94" y="336"/>
                  </a:lnTo>
                  <a:lnTo>
                    <a:pt x="96" y="344"/>
                  </a:lnTo>
                  <a:lnTo>
                    <a:pt x="100" y="352"/>
                  </a:lnTo>
                  <a:lnTo>
                    <a:pt x="100" y="352"/>
                  </a:lnTo>
                  <a:lnTo>
                    <a:pt x="108" y="356"/>
                  </a:lnTo>
                  <a:lnTo>
                    <a:pt x="114" y="356"/>
                  </a:lnTo>
                  <a:lnTo>
                    <a:pt x="114" y="356"/>
                  </a:lnTo>
                  <a:lnTo>
                    <a:pt x="122" y="356"/>
                  </a:lnTo>
                  <a:lnTo>
                    <a:pt x="128" y="352"/>
                  </a:lnTo>
                  <a:lnTo>
                    <a:pt x="128" y="352"/>
                  </a:lnTo>
                  <a:close/>
                  <a:moveTo>
                    <a:pt x="122" y="44"/>
                  </a:moveTo>
                  <a:lnTo>
                    <a:pt x="122" y="44"/>
                  </a:lnTo>
                  <a:lnTo>
                    <a:pt x="126" y="38"/>
                  </a:lnTo>
                  <a:lnTo>
                    <a:pt x="128" y="30"/>
                  </a:lnTo>
                  <a:lnTo>
                    <a:pt x="128" y="30"/>
                  </a:lnTo>
                  <a:lnTo>
                    <a:pt x="126" y="22"/>
                  </a:lnTo>
                  <a:lnTo>
                    <a:pt x="122" y="16"/>
                  </a:lnTo>
                  <a:lnTo>
                    <a:pt x="122" y="16"/>
                  </a:lnTo>
                  <a:lnTo>
                    <a:pt x="116" y="12"/>
                  </a:lnTo>
                  <a:lnTo>
                    <a:pt x="108" y="10"/>
                  </a:lnTo>
                  <a:lnTo>
                    <a:pt x="100" y="12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0" y="22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90" y="38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100" y="48"/>
                  </a:lnTo>
                  <a:lnTo>
                    <a:pt x="108" y="50"/>
                  </a:lnTo>
                  <a:lnTo>
                    <a:pt x="108" y="50"/>
                  </a:lnTo>
                  <a:lnTo>
                    <a:pt x="116" y="48"/>
                  </a:lnTo>
                  <a:lnTo>
                    <a:pt x="122" y="44"/>
                  </a:lnTo>
                  <a:lnTo>
                    <a:pt x="122" y="44"/>
                  </a:lnTo>
                  <a:close/>
                  <a:moveTo>
                    <a:pt x="56" y="74"/>
                  </a:moveTo>
                  <a:lnTo>
                    <a:pt x="56" y="74"/>
                  </a:lnTo>
                  <a:lnTo>
                    <a:pt x="60" y="68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56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0" y="48"/>
                  </a:lnTo>
                  <a:lnTo>
                    <a:pt x="44" y="46"/>
                  </a:lnTo>
                  <a:lnTo>
                    <a:pt x="38" y="48"/>
                  </a:lnTo>
                  <a:lnTo>
                    <a:pt x="34" y="52"/>
                  </a:lnTo>
                  <a:lnTo>
                    <a:pt x="34" y="52"/>
                  </a:lnTo>
                  <a:lnTo>
                    <a:pt x="30" y="56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30" y="68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8" y="78"/>
                  </a:lnTo>
                  <a:lnTo>
                    <a:pt x="44" y="78"/>
                  </a:lnTo>
                  <a:lnTo>
                    <a:pt x="44" y="78"/>
                  </a:lnTo>
                  <a:lnTo>
                    <a:pt x="50" y="78"/>
                  </a:lnTo>
                  <a:lnTo>
                    <a:pt x="56" y="74"/>
                  </a:lnTo>
                  <a:lnTo>
                    <a:pt x="56" y="74"/>
                  </a:lnTo>
                  <a:close/>
                  <a:moveTo>
                    <a:pt x="208" y="386"/>
                  </a:moveTo>
                  <a:lnTo>
                    <a:pt x="208" y="386"/>
                  </a:lnTo>
                  <a:lnTo>
                    <a:pt x="200" y="394"/>
                  </a:lnTo>
                  <a:lnTo>
                    <a:pt x="192" y="402"/>
                  </a:lnTo>
                  <a:lnTo>
                    <a:pt x="182" y="406"/>
                  </a:lnTo>
                  <a:lnTo>
                    <a:pt x="172" y="408"/>
                  </a:lnTo>
                  <a:lnTo>
                    <a:pt x="44" y="408"/>
                  </a:lnTo>
                  <a:lnTo>
                    <a:pt x="44" y="408"/>
                  </a:lnTo>
                  <a:lnTo>
                    <a:pt x="34" y="406"/>
                  </a:lnTo>
                  <a:lnTo>
                    <a:pt x="24" y="402"/>
                  </a:lnTo>
                  <a:lnTo>
                    <a:pt x="16" y="394"/>
                  </a:lnTo>
                  <a:lnTo>
                    <a:pt x="8" y="386"/>
                  </a:lnTo>
                  <a:lnTo>
                    <a:pt x="8" y="386"/>
                  </a:lnTo>
                  <a:lnTo>
                    <a:pt x="2" y="374"/>
                  </a:lnTo>
                  <a:lnTo>
                    <a:pt x="0" y="362"/>
                  </a:lnTo>
                  <a:lnTo>
                    <a:pt x="0" y="350"/>
                  </a:lnTo>
                  <a:lnTo>
                    <a:pt x="4" y="338"/>
                  </a:lnTo>
                  <a:lnTo>
                    <a:pt x="76" y="202"/>
                  </a:lnTo>
                  <a:lnTo>
                    <a:pt x="76" y="136"/>
                  </a:lnTo>
                  <a:lnTo>
                    <a:pt x="72" y="136"/>
                  </a:lnTo>
                  <a:lnTo>
                    <a:pt x="72" y="136"/>
                  </a:lnTo>
                  <a:lnTo>
                    <a:pt x="68" y="134"/>
                  </a:lnTo>
                  <a:lnTo>
                    <a:pt x="64" y="132"/>
                  </a:lnTo>
                  <a:lnTo>
                    <a:pt x="62" y="130"/>
                  </a:lnTo>
                  <a:lnTo>
                    <a:pt x="62" y="126"/>
                  </a:lnTo>
                  <a:lnTo>
                    <a:pt x="62" y="126"/>
                  </a:lnTo>
                  <a:lnTo>
                    <a:pt x="62" y="122"/>
                  </a:lnTo>
                  <a:lnTo>
                    <a:pt x="64" y="118"/>
                  </a:lnTo>
                  <a:lnTo>
                    <a:pt x="68" y="116"/>
                  </a:lnTo>
                  <a:lnTo>
                    <a:pt x="72" y="116"/>
                  </a:lnTo>
                  <a:lnTo>
                    <a:pt x="86" y="116"/>
                  </a:lnTo>
                  <a:lnTo>
                    <a:pt x="130" y="116"/>
                  </a:lnTo>
                  <a:lnTo>
                    <a:pt x="144" y="116"/>
                  </a:lnTo>
                  <a:lnTo>
                    <a:pt x="144" y="116"/>
                  </a:lnTo>
                  <a:lnTo>
                    <a:pt x="148" y="116"/>
                  </a:lnTo>
                  <a:lnTo>
                    <a:pt x="152" y="118"/>
                  </a:lnTo>
                  <a:lnTo>
                    <a:pt x="154" y="122"/>
                  </a:lnTo>
                  <a:lnTo>
                    <a:pt x="154" y="126"/>
                  </a:lnTo>
                  <a:lnTo>
                    <a:pt x="154" y="126"/>
                  </a:lnTo>
                  <a:lnTo>
                    <a:pt x="154" y="130"/>
                  </a:lnTo>
                  <a:lnTo>
                    <a:pt x="152" y="132"/>
                  </a:lnTo>
                  <a:lnTo>
                    <a:pt x="148" y="134"/>
                  </a:lnTo>
                  <a:lnTo>
                    <a:pt x="144" y="136"/>
                  </a:lnTo>
                  <a:lnTo>
                    <a:pt x="140" y="136"/>
                  </a:lnTo>
                  <a:lnTo>
                    <a:pt x="140" y="202"/>
                  </a:lnTo>
                  <a:lnTo>
                    <a:pt x="212" y="336"/>
                  </a:lnTo>
                  <a:lnTo>
                    <a:pt x="212" y="336"/>
                  </a:lnTo>
                  <a:lnTo>
                    <a:pt x="216" y="348"/>
                  </a:lnTo>
                  <a:lnTo>
                    <a:pt x="216" y="362"/>
                  </a:lnTo>
                  <a:lnTo>
                    <a:pt x="214" y="374"/>
                  </a:lnTo>
                  <a:lnTo>
                    <a:pt x="208" y="386"/>
                  </a:lnTo>
                  <a:lnTo>
                    <a:pt x="208" y="386"/>
                  </a:lnTo>
                  <a:close/>
                  <a:moveTo>
                    <a:pt x="102" y="158"/>
                  </a:moveTo>
                  <a:lnTo>
                    <a:pt x="102" y="158"/>
                  </a:lnTo>
                  <a:lnTo>
                    <a:pt x="102" y="162"/>
                  </a:lnTo>
                  <a:lnTo>
                    <a:pt x="104" y="166"/>
                  </a:lnTo>
                  <a:lnTo>
                    <a:pt x="104" y="166"/>
                  </a:lnTo>
                  <a:lnTo>
                    <a:pt x="108" y="168"/>
                  </a:lnTo>
                  <a:lnTo>
                    <a:pt x="114" y="170"/>
                  </a:lnTo>
                  <a:lnTo>
                    <a:pt x="114" y="170"/>
                  </a:lnTo>
                  <a:lnTo>
                    <a:pt x="118" y="168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4" y="162"/>
                  </a:lnTo>
                  <a:lnTo>
                    <a:pt x="126" y="158"/>
                  </a:lnTo>
                  <a:lnTo>
                    <a:pt x="126" y="158"/>
                  </a:lnTo>
                  <a:lnTo>
                    <a:pt x="124" y="152"/>
                  </a:lnTo>
                  <a:lnTo>
                    <a:pt x="122" y="148"/>
                  </a:lnTo>
                  <a:lnTo>
                    <a:pt x="122" y="148"/>
                  </a:lnTo>
                  <a:lnTo>
                    <a:pt x="118" y="146"/>
                  </a:lnTo>
                  <a:lnTo>
                    <a:pt x="114" y="146"/>
                  </a:lnTo>
                  <a:lnTo>
                    <a:pt x="108" y="146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2" y="152"/>
                  </a:lnTo>
                  <a:lnTo>
                    <a:pt x="102" y="158"/>
                  </a:lnTo>
                  <a:lnTo>
                    <a:pt x="102" y="158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8" y="268"/>
                  </a:lnTo>
                  <a:lnTo>
                    <a:pt x="72" y="276"/>
                  </a:lnTo>
                  <a:lnTo>
                    <a:pt x="72" y="276"/>
                  </a:lnTo>
                  <a:lnTo>
                    <a:pt x="80" y="280"/>
                  </a:lnTo>
                  <a:lnTo>
                    <a:pt x="86" y="282"/>
                  </a:lnTo>
                  <a:lnTo>
                    <a:pt x="86" y="282"/>
                  </a:lnTo>
                  <a:lnTo>
                    <a:pt x="94" y="280"/>
                  </a:lnTo>
                  <a:lnTo>
                    <a:pt x="100" y="276"/>
                  </a:lnTo>
                  <a:lnTo>
                    <a:pt x="100" y="276"/>
                  </a:lnTo>
                  <a:lnTo>
                    <a:pt x="106" y="268"/>
                  </a:lnTo>
                  <a:lnTo>
                    <a:pt x="106" y="262"/>
                  </a:lnTo>
                  <a:lnTo>
                    <a:pt x="106" y="262"/>
                  </a:lnTo>
                  <a:lnTo>
                    <a:pt x="106" y="254"/>
                  </a:lnTo>
                  <a:lnTo>
                    <a:pt x="100" y="248"/>
                  </a:lnTo>
                  <a:lnTo>
                    <a:pt x="100" y="248"/>
                  </a:lnTo>
                  <a:lnTo>
                    <a:pt x="94" y="242"/>
                  </a:lnTo>
                  <a:lnTo>
                    <a:pt x="86" y="242"/>
                  </a:lnTo>
                  <a:lnTo>
                    <a:pt x="80" y="242"/>
                  </a:lnTo>
                  <a:lnTo>
                    <a:pt x="72" y="248"/>
                  </a:lnTo>
                  <a:lnTo>
                    <a:pt x="72" y="248"/>
                  </a:lnTo>
                  <a:lnTo>
                    <a:pt x="68" y="254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196" y="344"/>
                  </a:moveTo>
                  <a:lnTo>
                    <a:pt x="174" y="304"/>
                  </a:lnTo>
                  <a:lnTo>
                    <a:pt x="174" y="304"/>
                  </a:lnTo>
                  <a:lnTo>
                    <a:pt x="156" y="306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6" y="308"/>
                  </a:lnTo>
                  <a:lnTo>
                    <a:pt x="138" y="304"/>
                  </a:lnTo>
                  <a:lnTo>
                    <a:pt x="140" y="298"/>
                  </a:lnTo>
                  <a:lnTo>
                    <a:pt x="140" y="298"/>
                  </a:lnTo>
                  <a:lnTo>
                    <a:pt x="138" y="294"/>
                  </a:lnTo>
                  <a:lnTo>
                    <a:pt x="136" y="290"/>
                  </a:lnTo>
                  <a:lnTo>
                    <a:pt x="136" y="290"/>
                  </a:lnTo>
                  <a:lnTo>
                    <a:pt x="132" y="288"/>
                  </a:lnTo>
                  <a:lnTo>
                    <a:pt x="128" y="288"/>
                  </a:lnTo>
                  <a:lnTo>
                    <a:pt x="124" y="288"/>
                  </a:lnTo>
                  <a:lnTo>
                    <a:pt x="120" y="290"/>
                  </a:lnTo>
                  <a:lnTo>
                    <a:pt x="120" y="290"/>
                  </a:lnTo>
                  <a:lnTo>
                    <a:pt x="116" y="294"/>
                  </a:lnTo>
                  <a:lnTo>
                    <a:pt x="116" y="298"/>
                  </a:lnTo>
                  <a:lnTo>
                    <a:pt x="116" y="298"/>
                  </a:lnTo>
                  <a:lnTo>
                    <a:pt x="116" y="302"/>
                  </a:lnTo>
                  <a:lnTo>
                    <a:pt x="118" y="306"/>
                  </a:lnTo>
                  <a:lnTo>
                    <a:pt x="118" y="306"/>
                  </a:lnTo>
                  <a:lnTo>
                    <a:pt x="100" y="302"/>
                  </a:lnTo>
                  <a:lnTo>
                    <a:pt x="100" y="302"/>
                  </a:lnTo>
                  <a:lnTo>
                    <a:pt x="82" y="298"/>
                  </a:lnTo>
                  <a:lnTo>
                    <a:pt x="82" y="298"/>
                  </a:lnTo>
                  <a:lnTo>
                    <a:pt x="60" y="296"/>
                  </a:lnTo>
                  <a:lnTo>
                    <a:pt x="60" y="296"/>
                  </a:lnTo>
                  <a:lnTo>
                    <a:pt x="46" y="298"/>
                  </a:lnTo>
                  <a:lnTo>
                    <a:pt x="20" y="346"/>
                  </a:lnTo>
                  <a:lnTo>
                    <a:pt x="20" y="346"/>
                  </a:lnTo>
                  <a:lnTo>
                    <a:pt x="18" y="352"/>
                  </a:lnTo>
                  <a:lnTo>
                    <a:pt x="18" y="360"/>
                  </a:lnTo>
                  <a:lnTo>
                    <a:pt x="20" y="368"/>
                  </a:lnTo>
                  <a:lnTo>
                    <a:pt x="24" y="376"/>
                  </a:lnTo>
                  <a:lnTo>
                    <a:pt x="24" y="376"/>
                  </a:lnTo>
                  <a:lnTo>
                    <a:pt x="28" y="382"/>
                  </a:lnTo>
                  <a:lnTo>
                    <a:pt x="32" y="386"/>
                  </a:lnTo>
                  <a:lnTo>
                    <a:pt x="38" y="388"/>
                  </a:lnTo>
                  <a:lnTo>
                    <a:pt x="44" y="390"/>
                  </a:lnTo>
                  <a:lnTo>
                    <a:pt x="172" y="390"/>
                  </a:lnTo>
                  <a:lnTo>
                    <a:pt x="172" y="390"/>
                  </a:lnTo>
                  <a:lnTo>
                    <a:pt x="178" y="388"/>
                  </a:lnTo>
                  <a:lnTo>
                    <a:pt x="184" y="386"/>
                  </a:lnTo>
                  <a:lnTo>
                    <a:pt x="188" y="382"/>
                  </a:lnTo>
                  <a:lnTo>
                    <a:pt x="192" y="376"/>
                  </a:lnTo>
                  <a:lnTo>
                    <a:pt x="192" y="376"/>
                  </a:lnTo>
                  <a:lnTo>
                    <a:pt x="196" y="368"/>
                  </a:lnTo>
                  <a:lnTo>
                    <a:pt x="198" y="360"/>
                  </a:lnTo>
                  <a:lnTo>
                    <a:pt x="198" y="352"/>
                  </a:lnTo>
                  <a:lnTo>
                    <a:pt x="196" y="344"/>
                  </a:lnTo>
                  <a:lnTo>
                    <a:pt x="196" y="3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1BF7BEEE-23BD-4CDC-BE5D-F74A91D0BDAA}"/>
              </a:ext>
            </a:extLst>
          </p:cNvPr>
          <p:cNvGrpSpPr/>
          <p:nvPr/>
        </p:nvGrpSpPr>
        <p:grpSpPr>
          <a:xfrm>
            <a:off x="6764022" y="2166304"/>
            <a:ext cx="612000" cy="612000"/>
            <a:chOff x="4091659" y="2258092"/>
            <a:chExt cx="612000" cy="612000"/>
          </a:xfrm>
        </p:grpSpPr>
        <p:sp>
          <p:nvSpPr>
            <p:cNvPr id="98" name="Oval 97">
              <a:extLst>
                <a:ext uri="{FF2B5EF4-FFF2-40B4-BE49-F238E27FC236}">
                  <a16:creationId xmlns:a16="http://schemas.microsoft.com/office/drawing/2014/main" id="{E327532B-74AC-4589-964E-D201B478EC35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99" name="Freeform 4886">
              <a:extLst>
                <a:ext uri="{FF2B5EF4-FFF2-40B4-BE49-F238E27FC236}">
                  <a16:creationId xmlns:a16="http://schemas.microsoft.com/office/drawing/2014/main" id="{931E8B81-8107-46FA-AEB1-3C8DD52C062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03817" y="2370250"/>
              <a:ext cx="387684" cy="387684"/>
            </a:xfrm>
            <a:custGeom>
              <a:avLst/>
              <a:gdLst>
                <a:gd name="T0" fmla="*/ 320 w 320"/>
                <a:gd name="T1" fmla="*/ 124 h 320"/>
                <a:gd name="T2" fmla="*/ 320 w 320"/>
                <a:gd name="T3" fmla="*/ 196 h 320"/>
                <a:gd name="T4" fmla="*/ 320 w 320"/>
                <a:gd name="T5" fmla="*/ 196 h 320"/>
                <a:gd name="T6" fmla="*/ 318 w 320"/>
                <a:gd name="T7" fmla="*/ 202 h 320"/>
                <a:gd name="T8" fmla="*/ 316 w 320"/>
                <a:gd name="T9" fmla="*/ 208 h 320"/>
                <a:gd name="T10" fmla="*/ 310 w 320"/>
                <a:gd name="T11" fmla="*/ 210 h 320"/>
                <a:gd name="T12" fmla="*/ 304 w 320"/>
                <a:gd name="T13" fmla="*/ 212 h 320"/>
                <a:gd name="T14" fmla="*/ 212 w 320"/>
                <a:gd name="T15" fmla="*/ 212 h 320"/>
                <a:gd name="T16" fmla="*/ 212 w 320"/>
                <a:gd name="T17" fmla="*/ 304 h 320"/>
                <a:gd name="T18" fmla="*/ 212 w 320"/>
                <a:gd name="T19" fmla="*/ 304 h 320"/>
                <a:gd name="T20" fmla="*/ 210 w 320"/>
                <a:gd name="T21" fmla="*/ 310 h 320"/>
                <a:gd name="T22" fmla="*/ 208 w 320"/>
                <a:gd name="T23" fmla="*/ 316 h 320"/>
                <a:gd name="T24" fmla="*/ 202 w 320"/>
                <a:gd name="T25" fmla="*/ 318 h 320"/>
                <a:gd name="T26" fmla="*/ 196 w 320"/>
                <a:gd name="T27" fmla="*/ 320 h 320"/>
                <a:gd name="T28" fmla="*/ 124 w 320"/>
                <a:gd name="T29" fmla="*/ 320 h 320"/>
                <a:gd name="T30" fmla="*/ 124 w 320"/>
                <a:gd name="T31" fmla="*/ 320 h 320"/>
                <a:gd name="T32" fmla="*/ 118 w 320"/>
                <a:gd name="T33" fmla="*/ 318 h 320"/>
                <a:gd name="T34" fmla="*/ 112 w 320"/>
                <a:gd name="T35" fmla="*/ 316 h 320"/>
                <a:gd name="T36" fmla="*/ 110 w 320"/>
                <a:gd name="T37" fmla="*/ 310 h 320"/>
                <a:gd name="T38" fmla="*/ 108 w 320"/>
                <a:gd name="T39" fmla="*/ 304 h 320"/>
                <a:gd name="T40" fmla="*/ 108 w 320"/>
                <a:gd name="T41" fmla="*/ 212 h 320"/>
                <a:gd name="T42" fmla="*/ 16 w 320"/>
                <a:gd name="T43" fmla="*/ 212 h 320"/>
                <a:gd name="T44" fmla="*/ 16 w 320"/>
                <a:gd name="T45" fmla="*/ 212 h 320"/>
                <a:gd name="T46" fmla="*/ 10 w 320"/>
                <a:gd name="T47" fmla="*/ 210 h 320"/>
                <a:gd name="T48" fmla="*/ 4 w 320"/>
                <a:gd name="T49" fmla="*/ 208 h 320"/>
                <a:gd name="T50" fmla="*/ 2 w 320"/>
                <a:gd name="T51" fmla="*/ 202 h 320"/>
                <a:gd name="T52" fmla="*/ 0 w 320"/>
                <a:gd name="T53" fmla="*/ 196 h 320"/>
                <a:gd name="T54" fmla="*/ 0 w 320"/>
                <a:gd name="T55" fmla="*/ 124 h 320"/>
                <a:gd name="T56" fmla="*/ 0 w 320"/>
                <a:gd name="T57" fmla="*/ 124 h 320"/>
                <a:gd name="T58" fmla="*/ 2 w 320"/>
                <a:gd name="T59" fmla="*/ 118 h 320"/>
                <a:gd name="T60" fmla="*/ 4 w 320"/>
                <a:gd name="T61" fmla="*/ 112 h 320"/>
                <a:gd name="T62" fmla="*/ 10 w 320"/>
                <a:gd name="T63" fmla="*/ 110 h 320"/>
                <a:gd name="T64" fmla="*/ 16 w 320"/>
                <a:gd name="T65" fmla="*/ 108 h 320"/>
                <a:gd name="T66" fmla="*/ 108 w 320"/>
                <a:gd name="T67" fmla="*/ 108 h 320"/>
                <a:gd name="T68" fmla="*/ 108 w 320"/>
                <a:gd name="T69" fmla="*/ 16 h 320"/>
                <a:gd name="T70" fmla="*/ 108 w 320"/>
                <a:gd name="T71" fmla="*/ 16 h 320"/>
                <a:gd name="T72" fmla="*/ 110 w 320"/>
                <a:gd name="T73" fmla="*/ 10 h 320"/>
                <a:gd name="T74" fmla="*/ 112 w 320"/>
                <a:gd name="T75" fmla="*/ 4 h 320"/>
                <a:gd name="T76" fmla="*/ 118 w 320"/>
                <a:gd name="T77" fmla="*/ 2 h 320"/>
                <a:gd name="T78" fmla="*/ 124 w 320"/>
                <a:gd name="T79" fmla="*/ 0 h 320"/>
                <a:gd name="T80" fmla="*/ 196 w 320"/>
                <a:gd name="T81" fmla="*/ 0 h 320"/>
                <a:gd name="T82" fmla="*/ 196 w 320"/>
                <a:gd name="T83" fmla="*/ 0 h 320"/>
                <a:gd name="T84" fmla="*/ 202 w 320"/>
                <a:gd name="T85" fmla="*/ 2 h 320"/>
                <a:gd name="T86" fmla="*/ 208 w 320"/>
                <a:gd name="T87" fmla="*/ 4 h 320"/>
                <a:gd name="T88" fmla="*/ 210 w 320"/>
                <a:gd name="T89" fmla="*/ 10 h 320"/>
                <a:gd name="T90" fmla="*/ 212 w 320"/>
                <a:gd name="T91" fmla="*/ 16 h 320"/>
                <a:gd name="T92" fmla="*/ 212 w 320"/>
                <a:gd name="T93" fmla="*/ 108 h 320"/>
                <a:gd name="T94" fmla="*/ 304 w 320"/>
                <a:gd name="T95" fmla="*/ 108 h 320"/>
                <a:gd name="T96" fmla="*/ 304 w 320"/>
                <a:gd name="T97" fmla="*/ 108 h 320"/>
                <a:gd name="T98" fmla="*/ 310 w 320"/>
                <a:gd name="T99" fmla="*/ 110 h 320"/>
                <a:gd name="T100" fmla="*/ 316 w 320"/>
                <a:gd name="T101" fmla="*/ 112 h 320"/>
                <a:gd name="T102" fmla="*/ 318 w 320"/>
                <a:gd name="T103" fmla="*/ 118 h 320"/>
                <a:gd name="T104" fmla="*/ 320 w 320"/>
                <a:gd name="T105" fmla="*/ 124 h 320"/>
                <a:gd name="T106" fmla="*/ 320 w 320"/>
                <a:gd name="T107" fmla="*/ 12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0" h="320">
                  <a:moveTo>
                    <a:pt x="320" y="124"/>
                  </a:moveTo>
                  <a:lnTo>
                    <a:pt x="320" y="196"/>
                  </a:lnTo>
                  <a:lnTo>
                    <a:pt x="320" y="196"/>
                  </a:lnTo>
                  <a:lnTo>
                    <a:pt x="318" y="202"/>
                  </a:lnTo>
                  <a:lnTo>
                    <a:pt x="316" y="208"/>
                  </a:lnTo>
                  <a:lnTo>
                    <a:pt x="310" y="210"/>
                  </a:lnTo>
                  <a:lnTo>
                    <a:pt x="304" y="212"/>
                  </a:lnTo>
                  <a:lnTo>
                    <a:pt x="212" y="212"/>
                  </a:lnTo>
                  <a:lnTo>
                    <a:pt x="212" y="304"/>
                  </a:lnTo>
                  <a:lnTo>
                    <a:pt x="212" y="304"/>
                  </a:lnTo>
                  <a:lnTo>
                    <a:pt x="210" y="310"/>
                  </a:lnTo>
                  <a:lnTo>
                    <a:pt x="208" y="316"/>
                  </a:lnTo>
                  <a:lnTo>
                    <a:pt x="202" y="318"/>
                  </a:lnTo>
                  <a:lnTo>
                    <a:pt x="196" y="320"/>
                  </a:lnTo>
                  <a:lnTo>
                    <a:pt x="124" y="320"/>
                  </a:lnTo>
                  <a:lnTo>
                    <a:pt x="124" y="320"/>
                  </a:lnTo>
                  <a:lnTo>
                    <a:pt x="118" y="318"/>
                  </a:lnTo>
                  <a:lnTo>
                    <a:pt x="112" y="316"/>
                  </a:lnTo>
                  <a:lnTo>
                    <a:pt x="110" y="310"/>
                  </a:lnTo>
                  <a:lnTo>
                    <a:pt x="108" y="304"/>
                  </a:lnTo>
                  <a:lnTo>
                    <a:pt x="108" y="212"/>
                  </a:lnTo>
                  <a:lnTo>
                    <a:pt x="16" y="212"/>
                  </a:lnTo>
                  <a:lnTo>
                    <a:pt x="16" y="212"/>
                  </a:lnTo>
                  <a:lnTo>
                    <a:pt x="10" y="210"/>
                  </a:lnTo>
                  <a:lnTo>
                    <a:pt x="4" y="208"/>
                  </a:lnTo>
                  <a:lnTo>
                    <a:pt x="2" y="202"/>
                  </a:lnTo>
                  <a:lnTo>
                    <a:pt x="0" y="196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2" y="118"/>
                  </a:lnTo>
                  <a:lnTo>
                    <a:pt x="4" y="112"/>
                  </a:lnTo>
                  <a:lnTo>
                    <a:pt x="10" y="110"/>
                  </a:lnTo>
                  <a:lnTo>
                    <a:pt x="16" y="108"/>
                  </a:lnTo>
                  <a:lnTo>
                    <a:pt x="108" y="108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10" y="10"/>
                  </a:lnTo>
                  <a:lnTo>
                    <a:pt x="112" y="4"/>
                  </a:lnTo>
                  <a:lnTo>
                    <a:pt x="118" y="2"/>
                  </a:lnTo>
                  <a:lnTo>
                    <a:pt x="124" y="0"/>
                  </a:lnTo>
                  <a:lnTo>
                    <a:pt x="196" y="0"/>
                  </a:lnTo>
                  <a:lnTo>
                    <a:pt x="196" y="0"/>
                  </a:lnTo>
                  <a:lnTo>
                    <a:pt x="202" y="2"/>
                  </a:lnTo>
                  <a:lnTo>
                    <a:pt x="208" y="4"/>
                  </a:lnTo>
                  <a:lnTo>
                    <a:pt x="210" y="10"/>
                  </a:lnTo>
                  <a:lnTo>
                    <a:pt x="212" y="16"/>
                  </a:lnTo>
                  <a:lnTo>
                    <a:pt x="212" y="108"/>
                  </a:lnTo>
                  <a:lnTo>
                    <a:pt x="304" y="108"/>
                  </a:lnTo>
                  <a:lnTo>
                    <a:pt x="304" y="108"/>
                  </a:lnTo>
                  <a:lnTo>
                    <a:pt x="310" y="110"/>
                  </a:lnTo>
                  <a:lnTo>
                    <a:pt x="316" y="112"/>
                  </a:lnTo>
                  <a:lnTo>
                    <a:pt x="318" y="118"/>
                  </a:lnTo>
                  <a:lnTo>
                    <a:pt x="320" y="124"/>
                  </a:lnTo>
                  <a:lnTo>
                    <a:pt x="320" y="1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Slide Number Placeholder 3">
            <a:extLst>
              <a:ext uri="{FF2B5EF4-FFF2-40B4-BE49-F238E27FC236}">
                <a16:creationId xmlns:a16="http://schemas.microsoft.com/office/drawing/2014/main" id="{F4B9C54B-43F9-4C79-8728-2F7293C5B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6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21318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558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Ικανότητα Διαχείρισης Κρούσματος</a:t>
            </a:r>
          </a:p>
        </p:txBody>
      </p:sp>
      <p:sp>
        <p:nvSpPr>
          <p:cNvPr id="16" name="Rectangle: Diagonal Corners Snipped 15">
            <a:extLst>
              <a:ext uri="{FF2B5EF4-FFF2-40B4-BE49-F238E27FC236}">
                <a16:creationId xmlns:a16="http://schemas.microsoft.com/office/drawing/2014/main" id="{B387994D-7959-4984-86AD-51F840B6CF98}"/>
              </a:ext>
            </a:extLst>
          </p:cNvPr>
          <p:cNvSpPr/>
          <p:nvPr/>
        </p:nvSpPr>
        <p:spPr>
          <a:xfrm>
            <a:off x="1043608" y="2262004"/>
            <a:ext cx="9909314" cy="4201807"/>
          </a:xfrm>
          <a:prstGeom prst="snip2DiagRect">
            <a:avLst>
              <a:gd name="adj1" fmla="val 0"/>
              <a:gd name="adj2" fmla="val 19648"/>
            </a:avLst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sz="2000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40BAF88-F23D-476B-9913-1F7592515A26}"/>
              </a:ext>
            </a:extLst>
          </p:cNvPr>
          <p:cNvSpPr/>
          <p:nvPr/>
        </p:nvSpPr>
        <p:spPr>
          <a:xfrm>
            <a:off x="1554480" y="3724499"/>
            <a:ext cx="4326475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νίσχυση ικανότητας υποδομών υγεία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Δρομολογούμε την </a:t>
            </a:r>
            <a:r>
              <a:rPr lang="el-GR" sz="2000" dirty="0">
                <a:solidFill>
                  <a:schemeClr val="bg1"/>
                </a:solidFill>
              </a:rPr>
              <a:t>εγκατάσταση συνολικά </a:t>
            </a:r>
            <a:r>
              <a:rPr lang="el-GR" sz="2000" b="1" dirty="0">
                <a:solidFill>
                  <a:schemeClr val="bg1"/>
                </a:solidFill>
              </a:rPr>
              <a:t>20 νέων αναλυτών </a:t>
            </a:r>
            <a:r>
              <a:rPr lang="el-GR" sz="2000" dirty="0">
                <a:solidFill>
                  <a:schemeClr val="bg1"/>
                </a:solidFill>
              </a:rPr>
              <a:t>για </a:t>
            </a:r>
            <a:r>
              <a:rPr lang="en-US" sz="2000" dirty="0">
                <a:solidFill>
                  <a:schemeClr val="bg1"/>
                </a:solidFill>
              </a:rPr>
              <a:t>tests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Εξασφαλίζουμε </a:t>
            </a:r>
            <a:r>
              <a:rPr lang="el-GR" sz="2000" b="1" dirty="0">
                <a:solidFill>
                  <a:schemeClr val="bg1"/>
                </a:solidFill>
              </a:rPr>
              <a:t>600 κλίνες </a:t>
            </a:r>
            <a:r>
              <a:rPr lang="en-GB" sz="2000" b="1" dirty="0">
                <a:solidFill>
                  <a:schemeClr val="bg1"/>
                </a:solidFill>
              </a:rPr>
              <a:t>COVID</a:t>
            </a:r>
            <a:r>
              <a:rPr lang="el-GR" sz="2000" b="1" dirty="0">
                <a:solidFill>
                  <a:schemeClr val="bg1"/>
                </a:solidFill>
              </a:rPr>
              <a:t> </a:t>
            </a:r>
            <a:r>
              <a:rPr lang="el-GR" sz="2000" dirty="0">
                <a:solidFill>
                  <a:schemeClr val="bg1"/>
                </a:solidFill>
              </a:rPr>
              <a:t>στα νησιά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DB7E91E-8F78-4B69-8493-CC649CB8F66A}"/>
              </a:ext>
            </a:extLst>
          </p:cNvPr>
          <p:cNvSpPr/>
          <p:nvPr/>
        </p:nvSpPr>
        <p:spPr>
          <a:xfrm>
            <a:off x="2703439" y="2421892"/>
            <a:ext cx="687863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2400" b="1" dirty="0">
                <a:solidFill>
                  <a:schemeClr val="bg1"/>
                </a:solidFill>
              </a:rPr>
              <a:t>Ανάπτυξη επιχειρησιακών πλάνων για τους μικρούς νησιωτικούς προορισμούς</a:t>
            </a:r>
            <a:endParaRPr lang="el-GR" sz="2000" b="1" dirty="0">
              <a:solidFill>
                <a:schemeClr val="bg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7F489C5-3980-46EF-9FD7-4EFBCB8BA060}"/>
              </a:ext>
            </a:extLst>
          </p:cNvPr>
          <p:cNvSpPr/>
          <p:nvPr/>
        </p:nvSpPr>
        <p:spPr>
          <a:xfrm>
            <a:off x="6391827" y="3704621"/>
            <a:ext cx="456109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buSzPct val="150000"/>
            </a:pPr>
            <a:r>
              <a:rPr lang="el-GR" sz="2000" dirty="0">
                <a:solidFill>
                  <a:schemeClr val="bg1"/>
                </a:solidFill>
                <a:sym typeface="Wingdings" panose="05000000000000000000" pitchFamily="2" charset="2"/>
              </a:rPr>
              <a:t>Κάλυψη από κοντινούς προορισμούς: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Εξασφάλιση </a:t>
            </a:r>
            <a:r>
              <a:rPr lang="el-GR" sz="2000" b="1" dirty="0">
                <a:solidFill>
                  <a:schemeClr val="bg1"/>
                </a:solidFill>
              </a:rPr>
              <a:t>χρόνου μεταφοράς &lt;2ώρες</a:t>
            </a:r>
          </a:p>
          <a:p>
            <a:pPr marL="447675" indent="-447675">
              <a:spcBef>
                <a:spcPts val="600"/>
              </a:spcBef>
              <a:spcAft>
                <a:spcPts val="600"/>
              </a:spcAft>
              <a:buSzPct val="130000"/>
              <a:buFont typeface="Wingdings" panose="05000000000000000000" pitchFamily="2" charset="2"/>
              <a:buChar char=""/>
            </a:pPr>
            <a:r>
              <a:rPr lang="el-GR" sz="2000" dirty="0">
                <a:solidFill>
                  <a:schemeClr val="bg1"/>
                </a:solidFill>
              </a:rPr>
              <a:t>Αξιοποίηση των </a:t>
            </a:r>
            <a:r>
              <a:rPr lang="el-GR" sz="2000" b="1" dirty="0">
                <a:solidFill>
                  <a:schemeClr val="bg1"/>
                </a:solidFill>
              </a:rPr>
              <a:t>υποδομών της ηπειρωτικής Ελλάδας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40C13A19-9D57-43CC-9212-E3072CED3D28}"/>
              </a:ext>
            </a:extLst>
          </p:cNvPr>
          <p:cNvGrpSpPr/>
          <p:nvPr/>
        </p:nvGrpSpPr>
        <p:grpSpPr>
          <a:xfrm>
            <a:off x="1763564" y="2439057"/>
            <a:ext cx="612000" cy="612000"/>
            <a:chOff x="4091659" y="2258092"/>
            <a:chExt cx="612000" cy="612000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783A2242-A151-416D-8ABD-8E73584F6500}"/>
                </a:ext>
              </a:extLst>
            </p:cNvPr>
            <p:cNvSpPr/>
            <p:nvPr/>
          </p:nvSpPr>
          <p:spPr bwMode="ltGray">
            <a:xfrm>
              <a:off x="4091659" y="2258092"/>
              <a:ext cx="612000" cy="612000"/>
            </a:xfrm>
            <a:prstGeom prst="ellipse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10" name="Freeform 4954">
              <a:extLst>
                <a:ext uri="{FF2B5EF4-FFF2-40B4-BE49-F238E27FC236}">
                  <a16:creationId xmlns:a16="http://schemas.microsoft.com/office/drawing/2014/main" id="{3CFB5005-CB31-4333-A41C-0CA9BD6E5E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77482" y="2419619"/>
              <a:ext cx="469479" cy="355739"/>
            </a:xfrm>
            <a:custGeom>
              <a:avLst/>
              <a:gdLst>
                <a:gd name="T0" fmla="*/ 136 w 388"/>
                <a:gd name="T1" fmla="*/ 236 h 294"/>
                <a:gd name="T2" fmla="*/ 102 w 388"/>
                <a:gd name="T3" fmla="*/ 238 h 294"/>
                <a:gd name="T4" fmla="*/ 102 w 388"/>
                <a:gd name="T5" fmla="*/ 276 h 294"/>
                <a:gd name="T6" fmla="*/ 136 w 388"/>
                <a:gd name="T7" fmla="*/ 278 h 294"/>
                <a:gd name="T8" fmla="*/ 304 w 388"/>
                <a:gd name="T9" fmla="*/ 256 h 294"/>
                <a:gd name="T10" fmla="*/ 116 w 388"/>
                <a:gd name="T11" fmla="*/ 266 h 294"/>
                <a:gd name="T12" fmla="*/ 112 w 388"/>
                <a:gd name="T13" fmla="*/ 252 h 294"/>
                <a:gd name="T14" fmla="*/ 124 w 388"/>
                <a:gd name="T15" fmla="*/ 248 h 294"/>
                <a:gd name="T16" fmla="*/ 130 w 388"/>
                <a:gd name="T17" fmla="*/ 260 h 294"/>
                <a:gd name="T18" fmla="*/ 216 w 388"/>
                <a:gd name="T19" fmla="*/ 210 h 294"/>
                <a:gd name="T20" fmla="*/ 242 w 388"/>
                <a:gd name="T21" fmla="*/ 184 h 294"/>
                <a:gd name="T22" fmla="*/ 216 w 388"/>
                <a:gd name="T23" fmla="*/ 158 h 294"/>
                <a:gd name="T24" fmla="*/ 192 w 388"/>
                <a:gd name="T25" fmla="*/ 174 h 294"/>
                <a:gd name="T26" fmla="*/ 34 w 388"/>
                <a:gd name="T27" fmla="*/ 160 h 294"/>
                <a:gd name="T28" fmla="*/ 2 w 388"/>
                <a:gd name="T29" fmla="*/ 174 h 294"/>
                <a:gd name="T30" fmla="*/ 16 w 388"/>
                <a:gd name="T31" fmla="*/ 208 h 294"/>
                <a:gd name="T32" fmla="*/ 46 w 388"/>
                <a:gd name="T33" fmla="*/ 202 h 294"/>
                <a:gd name="T34" fmla="*/ 200 w 388"/>
                <a:gd name="T35" fmla="*/ 206 h 294"/>
                <a:gd name="T36" fmla="*/ 26 w 388"/>
                <a:gd name="T37" fmla="*/ 194 h 294"/>
                <a:gd name="T38" fmla="*/ 16 w 388"/>
                <a:gd name="T39" fmla="*/ 184 h 294"/>
                <a:gd name="T40" fmla="*/ 26 w 388"/>
                <a:gd name="T41" fmla="*/ 174 h 294"/>
                <a:gd name="T42" fmla="*/ 36 w 388"/>
                <a:gd name="T43" fmla="*/ 184 h 294"/>
                <a:gd name="T44" fmla="*/ 26 w 388"/>
                <a:gd name="T45" fmla="*/ 194 h 294"/>
                <a:gd name="T46" fmla="*/ 46 w 388"/>
                <a:gd name="T47" fmla="*/ 52 h 294"/>
                <a:gd name="T48" fmla="*/ 152 w 388"/>
                <a:gd name="T49" fmla="*/ 0 h 294"/>
                <a:gd name="T50" fmla="*/ 42 w 388"/>
                <a:gd name="T51" fmla="*/ 14 h 294"/>
                <a:gd name="T52" fmla="*/ 8 w 388"/>
                <a:gd name="T53" fmla="*/ 18 h 294"/>
                <a:gd name="T54" fmla="*/ 8 w 388"/>
                <a:gd name="T55" fmla="*/ 54 h 294"/>
                <a:gd name="T56" fmla="*/ 26 w 388"/>
                <a:gd name="T57" fmla="*/ 26 h 294"/>
                <a:gd name="T58" fmla="*/ 36 w 388"/>
                <a:gd name="T59" fmla="*/ 36 h 294"/>
                <a:gd name="T60" fmla="*/ 26 w 388"/>
                <a:gd name="T61" fmla="*/ 46 h 294"/>
                <a:gd name="T62" fmla="*/ 16 w 388"/>
                <a:gd name="T63" fmla="*/ 36 h 294"/>
                <a:gd name="T64" fmla="*/ 26 w 388"/>
                <a:gd name="T65" fmla="*/ 26 h 294"/>
                <a:gd name="T66" fmla="*/ 102 w 388"/>
                <a:gd name="T67" fmla="*/ 120 h 294"/>
                <a:gd name="T68" fmla="*/ 78 w 388"/>
                <a:gd name="T69" fmla="*/ 136 h 294"/>
                <a:gd name="T70" fmla="*/ 52 w 388"/>
                <a:gd name="T71" fmla="*/ 110 h 294"/>
                <a:gd name="T72" fmla="*/ 78 w 388"/>
                <a:gd name="T73" fmla="*/ 84 h 294"/>
                <a:gd name="T74" fmla="*/ 102 w 388"/>
                <a:gd name="T75" fmla="*/ 100 h 294"/>
                <a:gd name="T76" fmla="*/ 354 w 388"/>
                <a:gd name="T77" fmla="*/ 12 h 294"/>
                <a:gd name="T78" fmla="*/ 276 w 388"/>
                <a:gd name="T79" fmla="*/ 26 h 294"/>
                <a:gd name="T80" fmla="*/ 252 w 388"/>
                <a:gd name="T81" fmla="*/ 10 h 294"/>
                <a:gd name="T82" fmla="*/ 226 w 388"/>
                <a:gd name="T83" fmla="*/ 36 h 294"/>
                <a:gd name="T84" fmla="*/ 252 w 388"/>
                <a:gd name="T85" fmla="*/ 62 h 294"/>
                <a:gd name="T86" fmla="*/ 338 w 388"/>
                <a:gd name="T87" fmla="*/ 46 h 294"/>
                <a:gd name="T88" fmla="*/ 362 w 388"/>
                <a:gd name="T89" fmla="*/ 62 h 294"/>
                <a:gd name="T90" fmla="*/ 388 w 388"/>
                <a:gd name="T91" fmla="*/ 36 h 294"/>
                <a:gd name="T92" fmla="*/ 362 w 388"/>
                <a:gd name="T93" fmla="*/ 10 h 294"/>
                <a:gd name="T94" fmla="*/ 356 w 388"/>
                <a:gd name="T95" fmla="*/ 44 h 294"/>
                <a:gd name="T96" fmla="*/ 356 w 388"/>
                <a:gd name="T97" fmla="*/ 30 h 294"/>
                <a:gd name="T98" fmla="*/ 370 w 388"/>
                <a:gd name="T99" fmla="*/ 30 h 294"/>
                <a:gd name="T100" fmla="*/ 370 w 388"/>
                <a:gd name="T101" fmla="*/ 44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8" h="294">
                  <a:moveTo>
                    <a:pt x="264" y="246"/>
                  </a:moveTo>
                  <a:lnTo>
                    <a:pt x="144" y="246"/>
                  </a:lnTo>
                  <a:lnTo>
                    <a:pt x="144" y="246"/>
                  </a:lnTo>
                  <a:lnTo>
                    <a:pt x="140" y="240"/>
                  </a:lnTo>
                  <a:lnTo>
                    <a:pt x="136" y="236"/>
                  </a:lnTo>
                  <a:lnTo>
                    <a:pt x="128" y="232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10" y="232"/>
                  </a:lnTo>
                  <a:lnTo>
                    <a:pt x="102" y="238"/>
                  </a:lnTo>
                  <a:lnTo>
                    <a:pt x="96" y="246"/>
                  </a:lnTo>
                  <a:lnTo>
                    <a:pt x="94" y="256"/>
                  </a:lnTo>
                  <a:lnTo>
                    <a:pt x="94" y="256"/>
                  </a:lnTo>
                  <a:lnTo>
                    <a:pt x="96" y="266"/>
                  </a:lnTo>
                  <a:lnTo>
                    <a:pt x="102" y="276"/>
                  </a:lnTo>
                  <a:lnTo>
                    <a:pt x="110" y="280"/>
                  </a:lnTo>
                  <a:lnTo>
                    <a:pt x="120" y="282"/>
                  </a:lnTo>
                  <a:lnTo>
                    <a:pt x="120" y="282"/>
                  </a:lnTo>
                  <a:lnTo>
                    <a:pt x="128" y="282"/>
                  </a:lnTo>
                  <a:lnTo>
                    <a:pt x="136" y="278"/>
                  </a:lnTo>
                  <a:lnTo>
                    <a:pt x="140" y="274"/>
                  </a:lnTo>
                  <a:lnTo>
                    <a:pt x="144" y="266"/>
                  </a:lnTo>
                  <a:lnTo>
                    <a:pt x="264" y="266"/>
                  </a:lnTo>
                  <a:lnTo>
                    <a:pt x="264" y="294"/>
                  </a:lnTo>
                  <a:lnTo>
                    <a:pt x="304" y="256"/>
                  </a:lnTo>
                  <a:lnTo>
                    <a:pt x="264" y="220"/>
                  </a:lnTo>
                  <a:lnTo>
                    <a:pt x="264" y="246"/>
                  </a:lnTo>
                  <a:close/>
                  <a:moveTo>
                    <a:pt x="120" y="266"/>
                  </a:moveTo>
                  <a:lnTo>
                    <a:pt x="120" y="266"/>
                  </a:lnTo>
                  <a:lnTo>
                    <a:pt x="116" y="266"/>
                  </a:lnTo>
                  <a:lnTo>
                    <a:pt x="114" y="264"/>
                  </a:lnTo>
                  <a:lnTo>
                    <a:pt x="112" y="260"/>
                  </a:lnTo>
                  <a:lnTo>
                    <a:pt x="110" y="256"/>
                  </a:lnTo>
                  <a:lnTo>
                    <a:pt x="110" y="256"/>
                  </a:lnTo>
                  <a:lnTo>
                    <a:pt x="112" y="252"/>
                  </a:lnTo>
                  <a:lnTo>
                    <a:pt x="114" y="250"/>
                  </a:lnTo>
                  <a:lnTo>
                    <a:pt x="116" y="248"/>
                  </a:lnTo>
                  <a:lnTo>
                    <a:pt x="120" y="246"/>
                  </a:lnTo>
                  <a:lnTo>
                    <a:pt x="120" y="246"/>
                  </a:lnTo>
                  <a:lnTo>
                    <a:pt x="124" y="248"/>
                  </a:lnTo>
                  <a:lnTo>
                    <a:pt x="128" y="250"/>
                  </a:lnTo>
                  <a:lnTo>
                    <a:pt x="130" y="252"/>
                  </a:lnTo>
                  <a:lnTo>
                    <a:pt x="130" y="256"/>
                  </a:lnTo>
                  <a:lnTo>
                    <a:pt x="130" y="256"/>
                  </a:lnTo>
                  <a:lnTo>
                    <a:pt x="130" y="260"/>
                  </a:lnTo>
                  <a:lnTo>
                    <a:pt x="128" y="264"/>
                  </a:lnTo>
                  <a:lnTo>
                    <a:pt x="124" y="266"/>
                  </a:lnTo>
                  <a:lnTo>
                    <a:pt x="120" y="266"/>
                  </a:lnTo>
                  <a:lnTo>
                    <a:pt x="120" y="266"/>
                  </a:lnTo>
                  <a:close/>
                  <a:moveTo>
                    <a:pt x="216" y="210"/>
                  </a:moveTo>
                  <a:lnTo>
                    <a:pt x="216" y="210"/>
                  </a:lnTo>
                  <a:lnTo>
                    <a:pt x="226" y="208"/>
                  </a:lnTo>
                  <a:lnTo>
                    <a:pt x="234" y="204"/>
                  </a:lnTo>
                  <a:lnTo>
                    <a:pt x="240" y="194"/>
                  </a:lnTo>
                  <a:lnTo>
                    <a:pt x="242" y="184"/>
                  </a:lnTo>
                  <a:lnTo>
                    <a:pt x="242" y="184"/>
                  </a:lnTo>
                  <a:lnTo>
                    <a:pt x="240" y="174"/>
                  </a:lnTo>
                  <a:lnTo>
                    <a:pt x="234" y="166"/>
                  </a:lnTo>
                  <a:lnTo>
                    <a:pt x="226" y="160"/>
                  </a:lnTo>
                  <a:lnTo>
                    <a:pt x="216" y="158"/>
                  </a:lnTo>
                  <a:lnTo>
                    <a:pt x="216" y="158"/>
                  </a:lnTo>
                  <a:lnTo>
                    <a:pt x="208" y="160"/>
                  </a:lnTo>
                  <a:lnTo>
                    <a:pt x="200" y="164"/>
                  </a:lnTo>
                  <a:lnTo>
                    <a:pt x="196" y="168"/>
                  </a:lnTo>
                  <a:lnTo>
                    <a:pt x="192" y="174"/>
                  </a:lnTo>
                  <a:lnTo>
                    <a:pt x="50" y="174"/>
                  </a:lnTo>
                  <a:lnTo>
                    <a:pt x="50" y="174"/>
                  </a:lnTo>
                  <a:lnTo>
                    <a:pt x="46" y="168"/>
                  </a:lnTo>
                  <a:lnTo>
                    <a:pt x="42" y="164"/>
                  </a:lnTo>
                  <a:lnTo>
                    <a:pt x="34" y="160"/>
                  </a:lnTo>
                  <a:lnTo>
                    <a:pt x="26" y="158"/>
                  </a:lnTo>
                  <a:lnTo>
                    <a:pt x="26" y="158"/>
                  </a:lnTo>
                  <a:lnTo>
                    <a:pt x="16" y="160"/>
                  </a:lnTo>
                  <a:lnTo>
                    <a:pt x="8" y="166"/>
                  </a:lnTo>
                  <a:lnTo>
                    <a:pt x="2" y="174"/>
                  </a:lnTo>
                  <a:lnTo>
                    <a:pt x="0" y="184"/>
                  </a:lnTo>
                  <a:lnTo>
                    <a:pt x="0" y="184"/>
                  </a:lnTo>
                  <a:lnTo>
                    <a:pt x="2" y="194"/>
                  </a:lnTo>
                  <a:lnTo>
                    <a:pt x="8" y="204"/>
                  </a:lnTo>
                  <a:lnTo>
                    <a:pt x="16" y="208"/>
                  </a:lnTo>
                  <a:lnTo>
                    <a:pt x="26" y="210"/>
                  </a:lnTo>
                  <a:lnTo>
                    <a:pt x="26" y="210"/>
                  </a:lnTo>
                  <a:lnTo>
                    <a:pt x="34" y="210"/>
                  </a:lnTo>
                  <a:lnTo>
                    <a:pt x="42" y="206"/>
                  </a:lnTo>
                  <a:lnTo>
                    <a:pt x="46" y="202"/>
                  </a:lnTo>
                  <a:lnTo>
                    <a:pt x="50" y="194"/>
                  </a:lnTo>
                  <a:lnTo>
                    <a:pt x="192" y="194"/>
                  </a:lnTo>
                  <a:lnTo>
                    <a:pt x="192" y="194"/>
                  </a:lnTo>
                  <a:lnTo>
                    <a:pt x="196" y="202"/>
                  </a:lnTo>
                  <a:lnTo>
                    <a:pt x="200" y="206"/>
                  </a:lnTo>
                  <a:lnTo>
                    <a:pt x="208" y="210"/>
                  </a:lnTo>
                  <a:lnTo>
                    <a:pt x="216" y="210"/>
                  </a:lnTo>
                  <a:lnTo>
                    <a:pt x="216" y="210"/>
                  </a:lnTo>
                  <a:close/>
                  <a:moveTo>
                    <a:pt x="26" y="194"/>
                  </a:moveTo>
                  <a:lnTo>
                    <a:pt x="26" y="194"/>
                  </a:lnTo>
                  <a:lnTo>
                    <a:pt x="22" y="194"/>
                  </a:lnTo>
                  <a:lnTo>
                    <a:pt x="20" y="192"/>
                  </a:lnTo>
                  <a:lnTo>
                    <a:pt x="18" y="188"/>
                  </a:lnTo>
                  <a:lnTo>
                    <a:pt x="16" y="184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20" y="178"/>
                  </a:lnTo>
                  <a:lnTo>
                    <a:pt x="22" y="176"/>
                  </a:lnTo>
                  <a:lnTo>
                    <a:pt x="26" y="174"/>
                  </a:lnTo>
                  <a:lnTo>
                    <a:pt x="26" y="174"/>
                  </a:lnTo>
                  <a:lnTo>
                    <a:pt x="30" y="176"/>
                  </a:lnTo>
                  <a:lnTo>
                    <a:pt x="34" y="178"/>
                  </a:lnTo>
                  <a:lnTo>
                    <a:pt x="36" y="180"/>
                  </a:lnTo>
                  <a:lnTo>
                    <a:pt x="36" y="184"/>
                  </a:lnTo>
                  <a:lnTo>
                    <a:pt x="36" y="184"/>
                  </a:lnTo>
                  <a:lnTo>
                    <a:pt x="36" y="188"/>
                  </a:lnTo>
                  <a:lnTo>
                    <a:pt x="34" y="192"/>
                  </a:lnTo>
                  <a:lnTo>
                    <a:pt x="30" y="194"/>
                  </a:lnTo>
                  <a:lnTo>
                    <a:pt x="26" y="194"/>
                  </a:lnTo>
                  <a:lnTo>
                    <a:pt x="26" y="194"/>
                  </a:lnTo>
                  <a:close/>
                  <a:moveTo>
                    <a:pt x="26" y="62"/>
                  </a:moveTo>
                  <a:lnTo>
                    <a:pt x="26" y="62"/>
                  </a:lnTo>
                  <a:lnTo>
                    <a:pt x="34" y="60"/>
                  </a:lnTo>
                  <a:lnTo>
                    <a:pt x="42" y="58"/>
                  </a:lnTo>
                  <a:lnTo>
                    <a:pt x="46" y="52"/>
                  </a:lnTo>
                  <a:lnTo>
                    <a:pt x="50" y="46"/>
                  </a:lnTo>
                  <a:lnTo>
                    <a:pt x="152" y="46"/>
                  </a:lnTo>
                  <a:lnTo>
                    <a:pt x="152" y="72"/>
                  </a:lnTo>
                  <a:lnTo>
                    <a:pt x="194" y="36"/>
                  </a:lnTo>
                  <a:lnTo>
                    <a:pt x="152" y="0"/>
                  </a:lnTo>
                  <a:lnTo>
                    <a:pt x="152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6" y="20"/>
                  </a:lnTo>
                  <a:lnTo>
                    <a:pt x="42" y="14"/>
                  </a:lnTo>
                  <a:lnTo>
                    <a:pt x="34" y="12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16" y="12"/>
                  </a:lnTo>
                  <a:lnTo>
                    <a:pt x="8" y="18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2" y="46"/>
                  </a:lnTo>
                  <a:lnTo>
                    <a:pt x="8" y="54"/>
                  </a:lnTo>
                  <a:lnTo>
                    <a:pt x="16" y="60"/>
                  </a:lnTo>
                  <a:lnTo>
                    <a:pt x="26" y="62"/>
                  </a:lnTo>
                  <a:lnTo>
                    <a:pt x="26" y="62"/>
                  </a:lnTo>
                  <a:close/>
                  <a:moveTo>
                    <a:pt x="26" y="26"/>
                  </a:moveTo>
                  <a:lnTo>
                    <a:pt x="26" y="26"/>
                  </a:lnTo>
                  <a:lnTo>
                    <a:pt x="30" y="26"/>
                  </a:lnTo>
                  <a:lnTo>
                    <a:pt x="34" y="30"/>
                  </a:lnTo>
                  <a:lnTo>
                    <a:pt x="36" y="32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4" y="44"/>
                  </a:lnTo>
                  <a:lnTo>
                    <a:pt x="30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2" y="46"/>
                  </a:lnTo>
                  <a:lnTo>
                    <a:pt x="20" y="44"/>
                  </a:lnTo>
                  <a:lnTo>
                    <a:pt x="18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8" y="32"/>
                  </a:lnTo>
                  <a:lnTo>
                    <a:pt x="20" y="30"/>
                  </a:lnTo>
                  <a:lnTo>
                    <a:pt x="22" y="26"/>
                  </a:lnTo>
                  <a:lnTo>
                    <a:pt x="26" y="26"/>
                  </a:lnTo>
                  <a:lnTo>
                    <a:pt x="26" y="26"/>
                  </a:lnTo>
                  <a:close/>
                  <a:moveTo>
                    <a:pt x="308" y="74"/>
                  </a:moveTo>
                  <a:lnTo>
                    <a:pt x="348" y="110"/>
                  </a:lnTo>
                  <a:lnTo>
                    <a:pt x="308" y="146"/>
                  </a:lnTo>
                  <a:lnTo>
                    <a:pt x="308" y="120"/>
                  </a:lnTo>
                  <a:lnTo>
                    <a:pt x="102" y="120"/>
                  </a:lnTo>
                  <a:lnTo>
                    <a:pt x="102" y="120"/>
                  </a:lnTo>
                  <a:lnTo>
                    <a:pt x="98" y="126"/>
                  </a:lnTo>
                  <a:lnTo>
                    <a:pt x="94" y="132"/>
                  </a:lnTo>
                  <a:lnTo>
                    <a:pt x="86" y="134"/>
                  </a:lnTo>
                  <a:lnTo>
                    <a:pt x="78" y="136"/>
                  </a:lnTo>
                  <a:lnTo>
                    <a:pt x="78" y="136"/>
                  </a:lnTo>
                  <a:lnTo>
                    <a:pt x="68" y="134"/>
                  </a:lnTo>
                  <a:lnTo>
                    <a:pt x="60" y="128"/>
                  </a:lnTo>
                  <a:lnTo>
                    <a:pt x="54" y="120"/>
                  </a:lnTo>
                  <a:lnTo>
                    <a:pt x="52" y="110"/>
                  </a:lnTo>
                  <a:lnTo>
                    <a:pt x="52" y="110"/>
                  </a:lnTo>
                  <a:lnTo>
                    <a:pt x="54" y="100"/>
                  </a:lnTo>
                  <a:lnTo>
                    <a:pt x="60" y="92"/>
                  </a:lnTo>
                  <a:lnTo>
                    <a:pt x="68" y="86"/>
                  </a:lnTo>
                  <a:lnTo>
                    <a:pt x="78" y="84"/>
                  </a:lnTo>
                  <a:lnTo>
                    <a:pt x="78" y="84"/>
                  </a:lnTo>
                  <a:lnTo>
                    <a:pt x="86" y="86"/>
                  </a:lnTo>
                  <a:lnTo>
                    <a:pt x="94" y="88"/>
                  </a:lnTo>
                  <a:lnTo>
                    <a:pt x="98" y="94"/>
                  </a:lnTo>
                  <a:lnTo>
                    <a:pt x="102" y="100"/>
                  </a:lnTo>
                  <a:lnTo>
                    <a:pt x="308" y="100"/>
                  </a:lnTo>
                  <a:lnTo>
                    <a:pt x="308" y="74"/>
                  </a:lnTo>
                  <a:close/>
                  <a:moveTo>
                    <a:pt x="362" y="10"/>
                  </a:moveTo>
                  <a:lnTo>
                    <a:pt x="362" y="10"/>
                  </a:lnTo>
                  <a:lnTo>
                    <a:pt x="354" y="12"/>
                  </a:lnTo>
                  <a:lnTo>
                    <a:pt x="348" y="14"/>
                  </a:lnTo>
                  <a:lnTo>
                    <a:pt x="342" y="20"/>
                  </a:lnTo>
                  <a:lnTo>
                    <a:pt x="338" y="26"/>
                  </a:lnTo>
                  <a:lnTo>
                    <a:pt x="276" y="26"/>
                  </a:lnTo>
                  <a:lnTo>
                    <a:pt x="276" y="26"/>
                  </a:lnTo>
                  <a:lnTo>
                    <a:pt x="272" y="20"/>
                  </a:lnTo>
                  <a:lnTo>
                    <a:pt x="266" y="14"/>
                  </a:lnTo>
                  <a:lnTo>
                    <a:pt x="260" y="12"/>
                  </a:lnTo>
                  <a:lnTo>
                    <a:pt x="252" y="10"/>
                  </a:lnTo>
                  <a:lnTo>
                    <a:pt x="252" y="10"/>
                  </a:lnTo>
                  <a:lnTo>
                    <a:pt x="242" y="12"/>
                  </a:lnTo>
                  <a:lnTo>
                    <a:pt x="234" y="18"/>
                  </a:lnTo>
                  <a:lnTo>
                    <a:pt x="228" y="26"/>
                  </a:lnTo>
                  <a:lnTo>
                    <a:pt x="226" y="36"/>
                  </a:lnTo>
                  <a:lnTo>
                    <a:pt x="226" y="36"/>
                  </a:lnTo>
                  <a:lnTo>
                    <a:pt x="228" y="46"/>
                  </a:lnTo>
                  <a:lnTo>
                    <a:pt x="234" y="54"/>
                  </a:lnTo>
                  <a:lnTo>
                    <a:pt x="242" y="60"/>
                  </a:lnTo>
                  <a:lnTo>
                    <a:pt x="252" y="62"/>
                  </a:lnTo>
                  <a:lnTo>
                    <a:pt x="252" y="62"/>
                  </a:lnTo>
                  <a:lnTo>
                    <a:pt x="260" y="60"/>
                  </a:lnTo>
                  <a:lnTo>
                    <a:pt x="266" y="58"/>
                  </a:lnTo>
                  <a:lnTo>
                    <a:pt x="272" y="52"/>
                  </a:lnTo>
                  <a:lnTo>
                    <a:pt x="276" y="46"/>
                  </a:lnTo>
                  <a:lnTo>
                    <a:pt x="338" y="46"/>
                  </a:lnTo>
                  <a:lnTo>
                    <a:pt x="338" y="46"/>
                  </a:lnTo>
                  <a:lnTo>
                    <a:pt x="342" y="52"/>
                  </a:lnTo>
                  <a:lnTo>
                    <a:pt x="348" y="58"/>
                  </a:lnTo>
                  <a:lnTo>
                    <a:pt x="354" y="60"/>
                  </a:lnTo>
                  <a:lnTo>
                    <a:pt x="362" y="62"/>
                  </a:lnTo>
                  <a:lnTo>
                    <a:pt x="362" y="62"/>
                  </a:lnTo>
                  <a:lnTo>
                    <a:pt x="372" y="60"/>
                  </a:lnTo>
                  <a:lnTo>
                    <a:pt x="380" y="54"/>
                  </a:lnTo>
                  <a:lnTo>
                    <a:pt x="386" y="46"/>
                  </a:lnTo>
                  <a:lnTo>
                    <a:pt x="388" y="36"/>
                  </a:lnTo>
                  <a:lnTo>
                    <a:pt x="388" y="36"/>
                  </a:lnTo>
                  <a:lnTo>
                    <a:pt x="386" y="26"/>
                  </a:lnTo>
                  <a:lnTo>
                    <a:pt x="380" y="18"/>
                  </a:lnTo>
                  <a:lnTo>
                    <a:pt x="372" y="12"/>
                  </a:lnTo>
                  <a:lnTo>
                    <a:pt x="362" y="10"/>
                  </a:lnTo>
                  <a:lnTo>
                    <a:pt x="362" y="10"/>
                  </a:lnTo>
                  <a:close/>
                  <a:moveTo>
                    <a:pt x="362" y="46"/>
                  </a:moveTo>
                  <a:lnTo>
                    <a:pt x="362" y="46"/>
                  </a:lnTo>
                  <a:lnTo>
                    <a:pt x="358" y="46"/>
                  </a:lnTo>
                  <a:lnTo>
                    <a:pt x="356" y="44"/>
                  </a:lnTo>
                  <a:lnTo>
                    <a:pt x="352" y="40"/>
                  </a:lnTo>
                  <a:lnTo>
                    <a:pt x="352" y="36"/>
                  </a:lnTo>
                  <a:lnTo>
                    <a:pt x="352" y="36"/>
                  </a:lnTo>
                  <a:lnTo>
                    <a:pt x="352" y="32"/>
                  </a:lnTo>
                  <a:lnTo>
                    <a:pt x="356" y="30"/>
                  </a:lnTo>
                  <a:lnTo>
                    <a:pt x="358" y="26"/>
                  </a:lnTo>
                  <a:lnTo>
                    <a:pt x="362" y="26"/>
                  </a:lnTo>
                  <a:lnTo>
                    <a:pt x="362" y="26"/>
                  </a:lnTo>
                  <a:lnTo>
                    <a:pt x="366" y="26"/>
                  </a:lnTo>
                  <a:lnTo>
                    <a:pt x="370" y="30"/>
                  </a:lnTo>
                  <a:lnTo>
                    <a:pt x="372" y="32"/>
                  </a:lnTo>
                  <a:lnTo>
                    <a:pt x="372" y="36"/>
                  </a:lnTo>
                  <a:lnTo>
                    <a:pt x="372" y="36"/>
                  </a:lnTo>
                  <a:lnTo>
                    <a:pt x="372" y="40"/>
                  </a:lnTo>
                  <a:lnTo>
                    <a:pt x="370" y="44"/>
                  </a:lnTo>
                  <a:lnTo>
                    <a:pt x="366" y="46"/>
                  </a:lnTo>
                  <a:lnTo>
                    <a:pt x="362" y="46"/>
                  </a:lnTo>
                  <a:lnTo>
                    <a:pt x="362" y="4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000" dirty="0"/>
            </a:p>
          </p:txBody>
        </p:sp>
      </p:grp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7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0616083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4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n-US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Risk assessment…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0683ABF6-B48B-4728-A9F2-1FEF2F6F7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8</a:t>
            </a:fld>
            <a:endParaRPr lang="en-US" sz="1400" dirty="0">
              <a:latin typeface="+mn-lt"/>
            </a:endParaRPr>
          </a:p>
        </p:txBody>
      </p:sp>
      <p:sp>
        <p:nvSpPr>
          <p:cNvPr id="23" name="Rectangle: Diagonal Corners Snipped 22">
            <a:extLst>
              <a:ext uri="{FF2B5EF4-FFF2-40B4-BE49-F238E27FC236}">
                <a16:creationId xmlns:a16="http://schemas.microsoft.com/office/drawing/2014/main" id="{C9C3092E-6AF3-44CC-A910-FF1E5448C4D7}"/>
              </a:ext>
            </a:extLst>
          </p:cNvPr>
          <p:cNvSpPr/>
          <p:nvPr/>
        </p:nvSpPr>
        <p:spPr>
          <a:xfrm>
            <a:off x="768381" y="4256731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09C2DD8-598E-4A3F-8CC1-AF469A1C5AFD}"/>
              </a:ext>
            </a:extLst>
          </p:cNvPr>
          <p:cNvSpPr/>
          <p:nvPr/>
        </p:nvSpPr>
        <p:spPr>
          <a:xfrm>
            <a:off x="768380" y="3926391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2: Δυνατότητα ελέγχου (</a:t>
            </a:r>
            <a:r>
              <a:rPr lang="en-US" b="1" dirty="0"/>
              <a:t>testing)</a:t>
            </a:r>
            <a:endParaRPr lang="el-GR" b="1" dirty="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23503D-3C86-4355-8A8C-A955DE607683}"/>
              </a:ext>
            </a:extLst>
          </p:cNvPr>
          <p:cNvSpPr/>
          <p:nvPr/>
        </p:nvSpPr>
        <p:spPr>
          <a:xfrm>
            <a:off x="1065706" y="4343882"/>
            <a:ext cx="3240000" cy="19159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Χαμ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25EC993-5CBC-4630-9675-AC6D10EA93D7}"/>
              </a:ext>
            </a:extLst>
          </p:cNvPr>
          <p:cNvSpPr/>
          <p:nvPr/>
        </p:nvSpPr>
        <p:spPr>
          <a:xfrm>
            <a:off x="4985457" y="4269451"/>
            <a:ext cx="3240000" cy="22390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b="1" dirty="0">
                <a:solidFill>
                  <a:schemeClr val="bg1"/>
                </a:solidFill>
              </a:rPr>
              <a:t>Μέτριο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εγκατεστημένη ή προς εγκατάσταση* υποδομή για ελέγχους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ΘΗΡΑ, ΚΑΛΥΜΝΟΣ, ΚΩΣ, ΝΑΞΟΣ, ΠΑΡΟΣ, ΡΟΔΟΣ, ΣΥΡΟΣ</a:t>
            </a:r>
          </a:p>
          <a:p>
            <a:pPr marL="268288">
              <a:spcBef>
                <a:spcPts val="600"/>
              </a:spcBef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C781844-5819-44B2-B7C8-0FC3531789EC}"/>
              </a:ext>
            </a:extLst>
          </p:cNvPr>
          <p:cNvSpPr/>
          <p:nvPr/>
        </p:nvSpPr>
        <p:spPr>
          <a:xfrm>
            <a:off x="8610599" y="4343882"/>
            <a:ext cx="299372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6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b="1" dirty="0">
                <a:solidFill>
                  <a:schemeClr val="bg1"/>
                </a:solidFill>
              </a:rPr>
              <a:t>Υψηλό</a:t>
            </a:r>
            <a:r>
              <a:rPr lang="el-GR" sz="16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εν διαθέτουν υποδομές για ελέγχους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2A610271-8831-43DC-9FF0-D990BE4561DB}"/>
              </a:ext>
            </a:extLst>
          </p:cNvPr>
          <p:cNvGrpSpPr/>
          <p:nvPr/>
        </p:nvGrpSpPr>
        <p:grpSpPr>
          <a:xfrm>
            <a:off x="4522303" y="4256731"/>
            <a:ext cx="3703153" cy="2184790"/>
            <a:chOff x="4522304" y="1781499"/>
            <a:chExt cx="3703153" cy="4865962"/>
          </a:xfrm>
        </p:grpSpPr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B7561184-E2C4-4B57-820F-23509460A096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092CB1E-1EB4-4813-AB9E-D7713C2E41F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A830E791-9833-4051-8E7E-EA71E72FA8E8}"/>
              </a:ext>
            </a:extLst>
          </p:cNvPr>
          <p:cNvSpPr/>
          <p:nvPr/>
        </p:nvSpPr>
        <p:spPr>
          <a:xfrm>
            <a:off x="768382" y="1652292"/>
            <a:ext cx="10917482" cy="218479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endParaRPr lang="el-GR" sz="1050" dirty="0">
              <a:solidFill>
                <a:srgbClr val="FF0000"/>
              </a:solidFill>
              <a:sym typeface="Georgia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F903DCF-7408-4569-964F-477940794E04}"/>
              </a:ext>
            </a:extLst>
          </p:cNvPr>
          <p:cNvSpPr/>
          <p:nvPr/>
        </p:nvSpPr>
        <p:spPr>
          <a:xfrm>
            <a:off x="768381" y="1321952"/>
            <a:ext cx="553302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l-GR" b="1" dirty="0"/>
              <a:t>Κριτήριο </a:t>
            </a:r>
            <a:r>
              <a:rPr lang="en-US" b="1" dirty="0"/>
              <a:t>1</a:t>
            </a:r>
            <a:r>
              <a:rPr lang="el-GR" b="1" dirty="0"/>
              <a:t>: Προσβασιμότητα σε υποδομές υγείας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9FA88408-4404-47EE-B9B2-DBE7F2D107BF}"/>
              </a:ext>
            </a:extLst>
          </p:cNvPr>
          <p:cNvGrpSpPr/>
          <p:nvPr/>
        </p:nvGrpSpPr>
        <p:grpSpPr>
          <a:xfrm>
            <a:off x="4522304" y="1652292"/>
            <a:ext cx="3703153" cy="2184790"/>
            <a:chOff x="4522304" y="1781499"/>
            <a:chExt cx="3703153" cy="4865962"/>
          </a:xfrm>
        </p:grpSpPr>
        <p:cxnSp>
          <p:nvCxnSpPr>
            <p:cNvPr id="34" name="Straight Connector 33">
              <a:extLst>
                <a:ext uri="{FF2B5EF4-FFF2-40B4-BE49-F238E27FC236}">
                  <a16:creationId xmlns:a16="http://schemas.microsoft.com/office/drawing/2014/main" id="{EFBFF2E2-853C-4AE6-9818-42DEE316E9F5}"/>
                </a:ext>
              </a:extLst>
            </p:cNvPr>
            <p:cNvCxnSpPr/>
            <p:nvPr/>
          </p:nvCxnSpPr>
          <p:spPr>
            <a:xfrm>
              <a:off x="4522304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20340451-4121-40BE-B557-36FC3DBB3A83}"/>
                </a:ext>
              </a:extLst>
            </p:cNvPr>
            <p:cNvCxnSpPr/>
            <p:nvPr/>
          </p:nvCxnSpPr>
          <p:spPr>
            <a:xfrm>
              <a:off x="8225457" y="1781499"/>
              <a:ext cx="0" cy="4865962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>
            <a:extLst>
              <a:ext uri="{FF2B5EF4-FFF2-40B4-BE49-F238E27FC236}">
                <a16:creationId xmlns:a16="http://schemas.microsoft.com/office/drawing/2014/main" id="{14F1FE9B-51ED-4011-BE6E-2A8DC1A744CB}"/>
              </a:ext>
            </a:extLst>
          </p:cNvPr>
          <p:cNvSpPr/>
          <p:nvPr/>
        </p:nvSpPr>
        <p:spPr>
          <a:xfrm>
            <a:off x="995887" y="1798979"/>
            <a:ext cx="3240000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4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sz="1600" b="1" dirty="0">
                <a:solidFill>
                  <a:schemeClr val="bg1"/>
                </a:solidFill>
              </a:rPr>
              <a:t>Χαμηλό</a:t>
            </a:r>
            <a:r>
              <a:rPr lang="el-GR" sz="14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Ηπειρωτική Ελλάδα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Κρήτη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με δυνατότητα πρόσβασης στις υποδομές υγείας της ηπειρωτικής Ελλάδας σε 2 ώρες (με πλοίο ή αυτοκίνητο)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BC49569-94DF-4932-8ABD-AB085FF19568}"/>
              </a:ext>
            </a:extLst>
          </p:cNvPr>
          <p:cNvSpPr/>
          <p:nvPr/>
        </p:nvSpPr>
        <p:spPr>
          <a:xfrm>
            <a:off x="4889380" y="1805455"/>
            <a:ext cx="3240000" cy="16542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400" b="1" dirty="0">
                <a:solidFill>
                  <a:schemeClr val="bg1"/>
                </a:solidFill>
              </a:rPr>
              <a:t>Επίπεδο κινδύνου 2 (</a:t>
            </a:r>
            <a:r>
              <a:rPr lang="el-GR" sz="1600" b="1" dirty="0">
                <a:solidFill>
                  <a:schemeClr val="bg1"/>
                </a:solidFill>
              </a:rPr>
              <a:t>Μέτριο</a:t>
            </a:r>
            <a:r>
              <a:rPr lang="el-GR" sz="14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νεπτυγμένες υποδομές υγείας*</a:t>
            </a:r>
          </a:p>
          <a:p>
            <a:pPr marL="268288"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endParaRPr lang="el-GR" sz="1300" dirty="0">
              <a:solidFill>
                <a:schemeClr val="bg1"/>
              </a:solidFill>
            </a:endParaRPr>
          </a:p>
          <a:p>
            <a:pPr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ΓΝ, ΚΥ που έχουν δηλωθεί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F94528A-E67E-4516-BAF2-6FC55DC8A77E}"/>
              </a:ext>
            </a:extLst>
          </p:cNvPr>
          <p:cNvSpPr/>
          <p:nvPr/>
        </p:nvSpPr>
        <p:spPr>
          <a:xfrm>
            <a:off x="8610599" y="1805455"/>
            <a:ext cx="2923908" cy="1685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400" b="1" dirty="0">
                <a:solidFill>
                  <a:schemeClr val="bg1"/>
                </a:solidFill>
              </a:rPr>
              <a:t>Επίπεδο κινδύνου 1 (</a:t>
            </a:r>
            <a:r>
              <a:rPr lang="el-GR" sz="1600" b="1" dirty="0">
                <a:solidFill>
                  <a:schemeClr val="bg1"/>
                </a:solidFill>
              </a:rPr>
              <a:t>Υψηλό</a:t>
            </a:r>
            <a:r>
              <a:rPr lang="el-GR" sz="1400" b="1" dirty="0">
                <a:solidFill>
                  <a:schemeClr val="bg1"/>
                </a:solidFill>
              </a:rPr>
              <a:t>):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που διαθέτουν απλές υποδομές υγείας*</a:t>
            </a:r>
          </a:p>
          <a:p>
            <a:pPr marL="285750" indent="-285750"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sz="1300" dirty="0">
                <a:solidFill>
                  <a:schemeClr val="bg1"/>
                </a:solidFill>
              </a:rPr>
              <a:t>Προορισμοί χωρίς υποδομές υγείας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el-GR" sz="1300" dirty="0">
                <a:solidFill>
                  <a:schemeClr val="bg1"/>
                </a:solidFill>
              </a:rPr>
              <a:t>(*) ΚΥ, ΠΙ, ΠΠΙ που δεν έχουν δηλώσει κλίνες </a:t>
            </a:r>
            <a:r>
              <a:rPr lang="en-US" sz="1300" dirty="0">
                <a:solidFill>
                  <a:schemeClr val="bg1"/>
                </a:solidFill>
              </a:rPr>
              <a:t>COVID</a:t>
            </a:r>
            <a:endParaRPr lang="el-GR" sz="13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4745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5956991-FC0F-4168-8D0A-A66A184418A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61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5956991-FC0F-4168-8D0A-A66A184418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: Diagonal Corners Snipped 6">
            <a:extLst>
              <a:ext uri="{FF2B5EF4-FFF2-40B4-BE49-F238E27FC236}">
                <a16:creationId xmlns:a16="http://schemas.microsoft.com/office/drawing/2014/main" id="{64E041FA-31A3-4FAB-BA7D-ED0717912422}"/>
              </a:ext>
            </a:extLst>
          </p:cNvPr>
          <p:cNvSpPr/>
          <p:nvPr/>
        </p:nvSpPr>
        <p:spPr>
          <a:xfrm>
            <a:off x="520090" y="394189"/>
            <a:ext cx="11071456" cy="777663"/>
          </a:xfrm>
          <a:prstGeom prst="snip2DiagRect">
            <a:avLst/>
          </a:prstGeom>
          <a:solidFill>
            <a:srgbClr val="013476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pPr lvl="0">
              <a:defRPr/>
            </a:pP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l-GR" sz="2400" baseline="300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ο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στάδιο απελευθέρωσης - 15 Ιουνίου</a:t>
            </a:r>
          </a:p>
        </p:txBody>
      </p:sp>
      <p:sp>
        <p:nvSpPr>
          <p:cNvPr id="8" name="Rectangle: Diagonal Corners Snipped 7">
            <a:extLst>
              <a:ext uri="{FF2B5EF4-FFF2-40B4-BE49-F238E27FC236}">
                <a16:creationId xmlns:a16="http://schemas.microsoft.com/office/drawing/2014/main" id="{24F890B1-338E-49F7-9C98-F51802E60088}"/>
              </a:ext>
            </a:extLst>
          </p:cNvPr>
          <p:cNvSpPr/>
          <p:nvPr/>
        </p:nvSpPr>
        <p:spPr>
          <a:xfrm>
            <a:off x="1362011" y="1635075"/>
            <a:ext cx="8561634" cy="4480027"/>
          </a:xfrm>
          <a:prstGeom prst="snip2DiagRect">
            <a:avLst/>
          </a:prstGeom>
          <a:solidFill>
            <a:srgbClr val="417B85"/>
          </a:solidFill>
          <a:ln>
            <a:noFill/>
          </a:ln>
        </p:spPr>
        <p:txBody>
          <a:bodyPr spcFirstLastPara="1" wrap="square" lIns="108000" tIns="1476000" rIns="72000" bIns="36000" anchor="t" anchorCtr="0">
            <a:noAutofit/>
          </a:bodyPr>
          <a:lstStyle/>
          <a:p>
            <a:pPr>
              <a:buClr>
                <a:prstClr val="white"/>
              </a:buClr>
              <a:buSzPts val="1400"/>
            </a:pPr>
            <a:endParaRPr lang="el-GR" dirty="0">
              <a:solidFill>
                <a:prstClr val="white"/>
              </a:solidFill>
              <a:cs typeface="Arial"/>
              <a:sym typeface="Georgia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3B3BBD9-BB91-4031-A79A-92309AA022FB}"/>
              </a:ext>
            </a:extLst>
          </p:cNvPr>
          <p:cNvSpPr/>
          <p:nvPr/>
        </p:nvSpPr>
        <p:spPr>
          <a:xfrm>
            <a:off x="1694424" y="1990600"/>
            <a:ext cx="7699832" cy="30199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πτήσεων από το εξωτερικό προς «Ελευθέριος Βενιζέλος»</a:t>
            </a:r>
            <a:endParaRPr lang="en-US" dirty="0">
              <a:solidFill>
                <a:schemeClr val="bg1"/>
              </a:solidFill>
            </a:endParaRP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Απελευθέρωση εισόδου επισκεπτών από </a:t>
            </a:r>
            <a:r>
              <a:rPr lang="el-GR" b="1" dirty="0">
                <a:solidFill>
                  <a:schemeClr val="bg1"/>
                </a:solidFill>
              </a:rPr>
              <a:t>χώρες με καλά επιδημιολογικά χαρακτηριστικά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l-GR" dirty="0">
                <a:solidFill>
                  <a:schemeClr val="bg1"/>
                </a:solidFill>
              </a:rPr>
              <a:t>Επιπλέον αξιολογούνται κριτήρια όπως: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δική πρόσβαση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Μεσαίας απόστασης αεροπορικώς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ü"/>
            </a:pPr>
            <a:r>
              <a:rPr lang="el-GR" dirty="0">
                <a:solidFill>
                  <a:schemeClr val="bg1"/>
                </a:solidFill>
              </a:rPr>
              <a:t>Ομογενειακές κοινότητες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C08AF20-07DF-4B9A-AC5F-C5956CC10B49}"/>
              </a:ext>
            </a:extLst>
          </p:cNvPr>
          <p:cNvSpPr/>
          <p:nvPr/>
        </p:nvSpPr>
        <p:spPr>
          <a:xfrm>
            <a:off x="1978202" y="5042943"/>
            <a:ext cx="732541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  <a:spcAft>
                <a:spcPts val="600"/>
              </a:spcAft>
            </a:pPr>
            <a:r>
              <a:rPr lang="el-GR" dirty="0">
                <a:solidFill>
                  <a:schemeClr val="bg1"/>
                </a:solidFill>
              </a:rPr>
              <a:t>Η απελευθέρωση αναμένεται να δημιουργήσει θετική πίεση για ανάλογη απελευθέρωση περιορισμών και στη χώρα προέλευσης</a:t>
            </a:r>
          </a:p>
        </p:txBody>
      </p:sp>
      <p:sp>
        <p:nvSpPr>
          <p:cNvPr id="12" name="Slide Number Placeholder 3">
            <a:extLst>
              <a:ext uri="{FF2B5EF4-FFF2-40B4-BE49-F238E27FC236}">
                <a16:creationId xmlns:a16="http://schemas.microsoft.com/office/drawing/2014/main" id="{119651AC-366B-4DCC-8604-64E6BA51E1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algn="r"/>
            <a:fld id="{51543827-C2B0-46E7-89AA-B56A23F9ACD0}" type="slidenum">
              <a:rPr lang="en-US" sz="1400" smtClean="0">
                <a:latin typeface="+mn-lt"/>
              </a:rPr>
              <a:pPr algn="r"/>
              <a:t>9</a:t>
            </a:fld>
            <a:endParaRPr lang="en-US" sz="1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1959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5&quot;&gt;&lt;elem m_fUsage=&quot;4.09510000000000040643E+00&quot;&gt;&lt;m_msothmcolidx val=&quot;0&quot;/&gt;&lt;m_rgb r=&quot;01&quot; g=&quot;34&quot; b=&quot;76&quot;/&gt;&lt;m_nBrightness endver=&quot;26206&quot; val=&quot;0&quot;/&gt;&lt;/elem&gt;&lt;elem m_fUsage=&quot;9.77910489000000326953E-01&quot;&gt;&lt;m_msothmcolidx val=&quot;0&quot;/&gt;&lt;m_rgb r=&quot;41&quot; g=&quot;7B&quot; b=&quot;85&quot;/&gt;&lt;m_nBrightness endver=&quot;26206&quot; val=&quot;0&quot;/&gt;&lt;/elem&gt;&lt;elem m_fUsage=&quot;5.31441000000000163261E-01&quot;&gt;&lt;m_msothmcolidx val=&quot;0&quot;/&gt;&lt;m_rgb r=&quot;A9&quot; g=&quot;CC&quot; b=&quot;EE&quot;/&gt;&lt;m_nBrightness endver=&quot;26206&quot; val=&quot;0&quot;/&gt;&lt;/elem&gt;&lt;elem m_fUsage=&quot;4.78296900000000135833E-01&quot;&gt;&lt;m_msothmcolidx val=&quot;0&quot;/&gt;&lt;m_rgb r=&quot;D4&quot; g=&quot;E5&quot; b=&quot;F7&quot;/&gt;&lt;m_nBrightness endver=&quot;26206&quot; val=&quot;0&quot;/&gt;&lt;/elem&gt;&lt;elem m_fUsage=&quot;4.30467210000000155556E-01&quot;&gt;&lt;m_msothmcolidx val=&quot;0&quot;/&gt;&lt;m_rgb r=&quot;9C&quot; g=&quot;C7&quot; b=&quot;CE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LASTSLIDEVIEWED" val="1566,1,Slide131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rcI4qc7mdiOFVxYJvtH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79</TotalTime>
  <Words>1027</Words>
  <Application>Microsoft Office PowerPoint</Application>
  <PresentationFormat>Widescreen</PresentationFormat>
  <Paragraphs>202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Georgia</vt:lpstr>
      <vt:lpstr>Helvetica Neue</vt:lpstr>
      <vt:lpstr>Roboto</vt:lpstr>
      <vt:lpstr>Roboto Regular</vt:lpstr>
      <vt:lpstr>Wingdings</vt:lpstr>
      <vt:lpstr>Office Theme</vt:lpstr>
      <vt:lpstr>Simple Light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onstantinos Takos</dc:creator>
  <cp:lastModifiedBy>Leonidas Papaioannou</cp:lastModifiedBy>
  <cp:revision>1366</cp:revision>
  <cp:lastPrinted>2020-04-28T22:40:46Z</cp:lastPrinted>
  <dcterms:created xsi:type="dcterms:W3CDTF">2019-09-02T08:29:26Z</dcterms:created>
  <dcterms:modified xsi:type="dcterms:W3CDTF">2020-05-20T12:42:05Z</dcterms:modified>
</cp:coreProperties>
</file>